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9" r:id="rId1"/>
  </p:sldMasterIdLst>
  <p:notesMasterIdLst>
    <p:notesMasterId r:id="rId31"/>
  </p:notesMasterIdLst>
  <p:sldIdLst>
    <p:sldId id="277" r:id="rId2"/>
    <p:sldId id="288" r:id="rId3"/>
    <p:sldId id="292" r:id="rId4"/>
    <p:sldId id="290" r:id="rId5"/>
    <p:sldId id="260" r:id="rId6"/>
    <p:sldId id="319" r:id="rId7"/>
    <p:sldId id="291" r:id="rId8"/>
    <p:sldId id="294" r:id="rId9"/>
    <p:sldId id="295" r:id="rId10"/>
    <p:sldId id="293" r:id="rId11"/>
    <p:sldId id="313" r:id="rId12"/>
    <p:sldId id="273" r:id="rId13"/>
    <p:sldId id="316" r:id="rId14"/>
    <p:sldId id="315" r:id="rId15"/>
    <p:sldId id="297" r:id="rId16"/>
    <p:sldId id="298" r:id="rId17"/>
    <p:sldId id="300" r:id="rId18"/>
    <p:sldId id="301" r:id="rId19"/>
    <p:sldId id="262" r:id="rId20"/>
    <p:sldId id="302" r:id="rId21"/>
    <p:sldId id="299" r:id="rId22"/>
    <p:sldId id="318" r:id="rId23"/>
    <p:sldId id="317" r:id="rId24"/>
    <p:sldId id="309" r:id="rId25"/>
    <p:sldId id="310" r:id="rId26"/>
    <p:sldId id="320" r:id="rId27"/>
    <p:sldId id="312" r:id="rId28"/>
    <p:sldId id="265" r:id="rId29"/>
    <p:sldId id="264" r:id="rId30"/>
  </p:sldIdLst>
  <p:sldSz cx="12192000" cy="6858000"/>
  <p:notesSz cx="6858000" cy="9144000"/>
  <p:embeddedFontLst>
    <p:embeddedFont>
      <p:font typeface="Brush Script MT" panose="03060802040406070304" pitchFamily="66" charset="0"/>
      <p:italic r:id="rId32"/>
    </p:embeddedFont>
    <p:embeddedFont>
      <p:font typeface="Cabana" panose="00000500000000000000" pitchFamily="50" charset="0"/>
      <p:regular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Calibri Light" panose="020F0302020204030204" pitchFamily="34" charset="0"/>
      <p:regular r:id="rId38"/>
      <p:italic r:id="rId39"/>
    </p:embeddedFont>
    <p:embeddedFont>
      <p:font typeface="Quicksand" panose="00000500000000000000" pitchFamily="2" charset="0"/>
      <p:regular r:id="rId40"/>
      <p:bold r:id="rId4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7" autoAdjust="0"/>
    <p:restoredTop sz="94648"/>
  </p:normalViewPr>
  <p:slideViewPr>
    <p:cSldViewPr snapToGrid="0">
      <p:cViewPr varScale="1">
        <p:scale>
          <a:sx n="107" d="100"/>
          <a:sy n="107" d="100"/>
        </p:scale>
        <p:origin x="6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4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microsoft.com/office/2016/11/relationships/changesInfo" Target="changesInfos/changesInfo1.xml"/><Relationship Id="rId20" Type="http://schemas.openxmlformats.org/officeDocument/2006/relationships/slide" Target="slides/slide19.xml"/><Relationship Id="rId41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Tietze" userId="a3372cb8d9173b63" providerId="LiveId" clId="{A0F26B30-6F9A-4062-A1CA-058B33D7C232}"/>
    <pc:docChg chg="undo redo custSel addSld delSld modSld sldOrd">
      <pc:chgData name="Andreas Tietze" userId="a3372cb8d9173b63" providerId="LiveId" clId="{A0F26B30-6F9A-4062-A1CA-058B33D7C232}" dt="2021-10-06T17:50:52.744" v="7728"/>
      <pc:docMkLst>
        <pc:docMk/>
      </pc:docMkLst>
      <pc:sldChg chg="modSp mod ord">
        <pc:chgData name="Andreas Tietze" userId="a3372cb8d9173b63" providerId="LiveId" clId="{A0F26B30-6F9A-4062-A1CA-058B33D7C232}" dt="2021-10-06T17:41:19.247" v="7687" actId="14"/>
        <pc:sldMkLst>
          <pc:docMk/>
          <pc:sldMk cId="1544247666" sldId="260"/>
        </pc:sldMkLst>
        <pc:spChg chg="mod">
          <ac:chgData name="Andreas Tietze" userId="a3372cb8d9173b63" providerId="LiveId" clId="{A0F26B30-6F9A-4062-A1CA-058B33D7C232}" dt="2021-10-06T17:41:19.247" v="7687" actId="14"/>
          <ac:spMkLst>
            <pc:docMk/>
            <pc:sldMk cId="1544247666" sldId="260"/>
            <ac:spMk id="3" creationId="{D0159109-2091-436E-8D8B-E6F696BAFBC1}"/>
          </ac:spMkLst>
        </pc:spChg>
      </pc:sldChg>
      <pc:sldChg chg="addSp delSp modSp mod">
        <pc:chgData name="Andreas Tietze" userId="a3372cb8d9173b63" providerId="LiveId" clId="{A0F26B30-6F9A-4062-A1CA-058B33D7C232}" dt="2021-10-04T18:05:32.542" v="1338" actId="1440"/>
        <pc:sldMkLst>
          <pc:docMk/>
          <pc:sldMk cId="2622391921" sldId="262"/>
        </pc:sldMkLst>
        <pc:spChg chg="add del mod">
          <ac:chgData name="Andreas Tietze" userId="a3372cb8d9173b63" providerId="LiveId" clId="{A0F26B30-6F9A-4062-A1CA-058B33D7C232}" dt="2021-10-04T17:34:19.457" v="357" actId="478"/>
          <ac:spMkLst>
            <pc:docMk/>
            <pc:sldMk cId="2622391921" sldId="262"/>
            <ac:spMk id="5" creationId="{B3DC60DA-FF0D-4F02-92A1-15E8FB0BCBD5}"/>
          </ac:spMkLst>
        </pc:spChg>
        <pc:spChg chg="add mod">
          <ac:chgData name="Andreas Tietze" userId="a3372cb8d9173b63" providerId="LiveId" clId="{A0F26B30-6F9A-4062-A1CA-058B33D7C232}" dt="2021-10-04T17:34:24.633" v="358"/>
          <ac:spMkLst>
            <pc:docMk/>
            <pc:sldMk cId="2622391921" sldId="262"/>
            <ac:spMk id="6" creationId="{4470D884-FA42-4495-A17E-1F4642ADF992}"/>
          </ac:spMkLst>
        </pc:spChg>
        <pc:picChg chg="del">
          <ac:chgData name="Andreas Tietze" userId="a3372cb8d9173b63" providerId="LiveId" clId="{A0F26B30-6F9A-4062-A1CA-058B33D7C232}" dt="2021-10-04T17:34:17.050" v="356" actId="478"/>
          <ac:picMkLst>
            <pc:docMk/>
            <pc:sldMk cId="2622391921" sldId="262"/>
            <ac:picMk id="4" creationId="{5FEC4311-5417-454A-85F9-CFB5F8C928FB}"/>
          </ac:picMkLst>
        </pc:picChg>
        <pc:picChg chg="add mod">
          <ac:chgData name="Andreas Tietze" userId="a3372cb8d9173b63" providerId="LiveId" clId="{A0F26B30-6F9A-4062-A1CA-058B33D7C232}" dt="2021-10-04T18:05:32.542" v="1338" actId="1440"/>
          <ac:picMkLst>
            <pc:docMk/>
            <pc:sldMk cId="2622391921" sldId="262"/>
            <ac:picMk id="7" creationId="{C248673B-6E1B-43C2-A9B9-F8A712B45F78}"/>
          </ac:picMkLst>
        </pc:picChg>
        <pc:picChg chg="add mod">
          <ac:chgData name="Andreas Tietze" userId="a3372cb8d9173b63" providerId="LiveId" clId="{A0F26B30-6F9A-4062-A1CA-058B33D7C232}" dt="2021-10-04T18:05:32.542" v="1338" actId="1440"/>
          <ac:picMkLst>
            <pc:docMk/>
            <pc:sldMk cId="2622391921" sldId="262"/>
            <ac:picMk id="8" creationId="{5BB21F72-1786-4A4E-873B-78AD3D2FA1FA}"/>
          </ac:picMkLst>
        </pc:picChg>
      </pc:sldChg>
      <pc:sldChg chg="addSp delSp modSp mod">
        <pc:chgData name="Andreas Tietze" userId="a3372cb8d9173b63" providerId="LiveId" clId="{A0F26B30-6F9A-4062-A1CA-058B33D7C232}" dt="2021-10-04T19:18:41.896" v="4482" actId="1076"/>
        <pc:sldMkLst>
          <pc:docMk/>
          <pc:sldMk cId="2481298746" sldId="264"/>
        </pc:sldMkLst>
        <pc:spChg chg="add mod">
          <ac:chgData name="Andreas Tietze" userId="a3372cb8d9173b63" providerId="LiveId" clId="{A0F26B30-6F9A-4062-A1CA-058B33D7C232}" dt="2021-10-04T19:18:41.896" v="4482" actId="1076"/>
          <ac:spMkLst>
            <pc:docMk/>
            <pc:sldMk cId="2481298746" sldId="264"/>
            <ac:spMk id="4" creationId="{2BC5EC88-4EA1-4223-A9A7-9D3EB42E5481}"/>
          </ac:spMkLst>
        </pc:spChg>
        <pc:spChg chg="del mod">
          <ac:chgData name="Andreas Tietze" userId="a3372cb8d9173b63" providerId="LiveId" clId="{A0F26B30-6F9A-4062-A1CA-058B33D7C232}" dt="2021-10-04T18:04:29.074" v="1282" actId="478"/>
          <ac:spMkLst>
            <pc:docMk/>
            <pc:sldMk cId="2481298746" sldId="264"/>
            <ac:spMk id="7" creationId="{12080299-C542-454B-B3C1-E2F638E6F2C1}"/>
          </ac:spMkLst>
        </pc:spChg>
        <pc:spChg chg="mod">
          <ac:chgData name="Andreas Tietze" userId="a3372cb8d9173b63" providerId="LiveId" clId="{A0F26B30-6F9A-4062-A1CA-058B33D7C232}" dt="2021-10-04T18:05:06.406" v="1305" actId="20577"/>
          <ac:spMkLst>
            <pc:docMk/>
            <pc:sldMk cId="2481298746" sldId="264"/>
            <ac:spMk id="11" creationId="{7B7FBDAD-B381-F14F-8288-94C46258E546}"/>
          </ac:spMkLst>
        </pc:spChg>
      </pc:sldChg>
      <pc:sldChg chg="modSp mod">
        <pc:chgData name="Andreas Tietze" userId="a3372cb8d9173b63" providerId="LiveId" clId="{A0F26B30-6F9A-4062-A1CA-058B33D7C232}" dt="2021-10-04T18:05:25.570" v="1337" actId="1440"/>
        <pc:sldMkLst>
          <pc:docMk/>
          <pc:sldMk cId="659397279" sldId="265"/>
        </pc:sldMkLst>
        <pc:picChg chg="mod">
          <ac:chgData name="Andreas Tietze" userId="a3372cb8d9173b63" providerId="LiveId" clId="{A0F26B30-6F9A-4062-A1CA-058B33D7C232}" dt="2021-10-04T18:05:25.570" v="1337" actId="1440"/>
          <ac:picMkLst>
            <pc:docMk/>
            <pc:sldMk cId="659397279" sldId="265"/>
            <ac:picMk id="4" creationId="{314D23E3-2BF2-440F-B88E-21286E4286B7}"/>
          </ac:picMkLst>
        </pc:picChg>
      </pc:sldChg>
      <pc:sldChg chg="addSp delSp modSp add del mod">
        <pc:chgData name="Andreas Tietze" userId="a3372cb8d9173b63" providerId="LiveId" clId="{A0F26B30-6F9A-4062-A1CA-058B33D7C232}" dt="2021-10-06T17:46:17.139" v="7694" actId="1076"/>
        <pc:sldMkLst>
          <pc:docMk/>
          <pc:sldMk cId="647360924" sldId="273"/>
        </pc:sldMkLst>
        <pc:spChg chg="mod">
          <ac:chgData name="Andreas Tietze" userId="a3372cb8d9173b63" providerId="LiveId" clId="{A0F26B30-6F9A-4062-A1CA-058B33D7C232}" dt="2021-10-04T18:58:40.107" v="3572" actId="20577"/>
          <ac:spMkLst>
            <pc:docMk/>
            <pc:sldMk cId="647360924" sldId="273"/>
            <ac:spMk id="2" creationId="{D40538F2-BC54-4C68-BEE6-D1AE2DD9ACB2}"/>
          </ac:spMkLst>
        </pc:spChg>
        <pc:spChg chg="add del mod">
          <ac:chgData name="Andreas Tietze" userId="a3372cb8d9173b63" providerId="LiveId" clId="{A0F26B30-6F9A-4062-A1CA-058B33D7C232}" dt="2021-10-05T17:21:21.249" v="4758" actId="20577"/>
          <ac:spMkLst>
            <pc:docMk/>
            <pc:sldMk cId="647360924" sldId="273"/>
            <ac:spMk id="3" creationId="{86E9C686-611D-46B0-8DF3-AA2FD05B9669}"/>
          </ac:spMkLst>
        </pc:spChg>
        <pc:spChg chg="add del mod">
          <ac:chgData name="Andreas Tietze" userId="a3372cb8d9173b63" providerId="LiveId" clId="{A0F26B30-6F9A-4062-A1CA-058B33D7C232}" dt="2021-10-04T18:20:25.199" v="1631" actId="478"/>
          <ac:spMkLst>
            <pc:docMk/>
            <pc:sldMk cId="647360924" sldId="273"/>
            <ac:spMk id="5" creationId="{612FAD2A-E66B-4E65-B82A-DCD22A927030}"/>
          </ac:spMkLst>
        </pc:spChg>
        <pc:spChg chg="add del mod">
          <ac:chgData name="Andreas Tietze" userId="a3372cb8d9173b63" providerId="LiveId" clId="{A0F26B30-6F9A-4062-A1CA-058B33D7C232}" dt="2021-10-06T17:46:17.139" v="7694" actId="1076"/>
          <ac:spMkLst>
            <pc:docMk/>
            <pc:sldMk cId="647360924" sldId="273"/>
            <ac:spMk id="9" creationId="{A3257053-8917-014A-8F4A-91B32721263C}"/>
          </ac:spMkLst>
        </pc:spChg>
      </pc:sldChg>
      <pc:sldChg chg="addSp modSp mod">
        <pc:chgData name="Andreas Tietze" userId="a3372cb8d9173b63" providerId="LiveId" clId="{A0F26B30-6F9A-4062-A1CA-058B33D7C232}" dt="2021-10-05T18:01:33.195" v="6121" actId="20577"/>
        <pc:sldMkLst>
          <pc:docMk/>
          <pc:sldMk cId="2120449427" sldId="277"/>
        </pc:sldMkLst>
        <pc:spChg chg="mod">
          <ac:chgData name="Andreas Tietze" userId="a3372cb8d9173b63" providerId="LiveId" clId="{A0F26B30-6F9A-4062-A1CA-058B33D7C232}" dt="2021-10-05T18:01:33.195" v="6121" actId="20577"/>
          <ac:spMkLst>
            <pc:docMk/>
            <pc:sldMk cId="2120449427" sldId="277"/>
            <ac:spMk id="2" creationId="{6B02EAF6-8916-B443-BD87-2DD4941863DA}"/>
          </ac:spMkLst>
        </pc:spChg>
        <pc:spChg chg="mod">
          <ac:chgData name="Andreas Tietze" userId="a3372cb8d9173b63" providerId="LiveId" clId="{A0F26B30-6F9A-4062-A1CA-058B33D7C232}" dt="2021-10-04T16:58:37.984" v="232" actId="1035"/>
          <ac:spMkLst>
            <pc:docMk/>
            <pc:sldMk cId="2120449427" sldId="277"/>
            <ac:spMk id="3" creationId="{C1A48914-D15C-6749-8682-F723CCC5BD8E}"/>
          </ac:spMkLst>
        </pc:spChg>
        <pc:spChg chg="add mod">
          <ac:chgData name="Andreas Tietze" userId="a3372cb8d9173b63" providerId="LiveId" clId="{A0F26B30-6F9A-4062-A1CA-058B33D7C232}" dt="2021-10-04T16:58:27.155" v="220" actId="20577"/>
          <ac:spMkLst>
            <pc:docMk/>
            <pc:sldMk cId="2120449427" sldId="277"/>
            <ac:spMk id="4" creationId="{DB7C6E39-C178-489D-986A-9DE33C6F2D02}"/>
          </ac:spMkLst>
        </pc:spChg>
      </pc:sldChg>
      <pc:sldChg chg="addSp delSp modSp del mod">
        <pc:chgData name="Andreas Tietze" userId="a3372cb8d9173b63" providerId="LiveId" clId="{A0F26B30-6F9A-4062-A1CA-058B33D7C232}" dt="2021-10-05T17:47:49.904" v="5687" actId="47"/>
        <pc:sldMkLst>
          <pc:docMk/>
          <pc:sldMk cId="2293798471" sldId="289"/>
        </pc:sldMkLst>
        <pc:picChg chg="add del">
          <ac:chgData name="Andreas Tietze" userId="a3372cb8d9173b63" providerId="LiveId" clId="{A0F26B30-6F9A-4062-A1CA-058B33D7C232}" dt="2021-10-05T17:46:59.552" v="5640" actId="478"/>
          <ac:picMkLst>
            <pc:docMk/>
            <pc:sldMk cId="2293798471" sldId="289"/>
            <ac:picMk id="4" creationId="{66506973-DB79-41A1-8954-6FFFB8326640}"/>
          </ac:picMkLst>
        </pc:picChg>
        <pc:picChg chg="add del mod">
          <ac:chgData name="Andreas Tietze" userId="a3372cb8d9173b63" providerId="LiveId" clId="{A0F26B30-6F9A-4062-A1CA-058B33D7C232}" dt="2021-10-05T17:46:58.912" v="5639" actId="478"/>
          <ac:picMkLst>
            <pc:docMk/>
            <pc:sldMk cId="2293798471" sldId="289"/>
            <ac:picMk id="7" creationId="{A5430D2B-95E2-491B-9942-58122FCDF023}"/>
          </ac:picMkLst>
        </pc:picChg>
        <pc:picChg chg="add mod">
          <ac:chgData name="Andreas Tietze" userId="a3372cb8d9173b63" providerId="LiveId" clId="{A0F26B30-6F9A-4062-A1CA-058B33D7C232}" dt="2021-10-05T17:47:07.003" v="5642" actId="1076"/>
          <ac:picMkLst>
            <pc:docMk/>
            <pc:sldMk cId="2293798471" sldId="289"/>
            <ac:picMk id="9" creationId="{F600D5AA-FFCE-4BA6-BE86-F9EE1CEB0252}"/>
          </ac:picMkLst>
        </pc:picChg>
      </pc:sldChg>
      <pc:sldChg chg="modSp mod ord">
        <pc:chgData name="Andreas Tietze" userId="a3372cb8d9173b63" providerId="LiveId" clId="{A0F26B30-6F9A-4062-A1CA-058B33D7C232}" dt="2021-10-06T17:38:41.753" v="7686"/>
        <pc:sldMkLst>
          <pc:docMk/>
          <pc:sldMk cId="3262571634" sldId="290"/>
        </pc:sldMkLst>
        <pc:spChg chg="mod">
          <ac:chgData name="Andreas Tietze" userId="a3372cb8d9173b63" providerId="LiveId" clId="{A0F26B30-6F9A-4062-A1CA-058B33D7C232}" dt="2021-10-05T18:05:41.909" v="6148" actId="1076"/>
          <ac:spMkLst>
            <pc:docMk/>
            <pc:sldMk cId="3262571634" sldId="290"/>
            <ac:spMk id="4" creationId="{7F531594-BABC-3F4C-8ECA-4C17E41C3320}"/>
          </ac:spMkLst>
        </pc:spChg>
        <pc:picChg chg="mod">
          <ac:chgData name="Andreas Tietze" userId="a3372cb8d9173b63" providerId="LiveId" clId="{A0F26B30-6F9A-4062-A1CA-058B33D7C232}" dt="2021-10-05T17:58:03.232" v="6111" actId="1076"/>
          <ac:picMkLst>
            <pc:docMk/>
            <pc:sldMk cId="3262571634" sldId="290"/>
            <ac:picMk id="5" creationId="{F6CF9F68-4E64-8E49-9A33-975677C3AC7D}"/>
          </ac:picMkLst>
        </pc:picChg>
      </pc:sldChg>
      <pc:sldChg chg="modSp mod">
        <pc:chgData name="Andreas Tietze" userId="a3372cb8d9173b63" providerId="LiveId" clId="{A0F26B30-6F9A-4062-A1CA-058B33D7C232}" dt="2021-10-06T17:37:19.482" v="7663" actId="313"/>
        <pc:sldMkLst>
          <pc:docMk/>
          <pc:sldMk cId="1990986978" sldId="291"/>
        </pc:sldMkLst>
        <pc:spChg chg="mod">
          <ac:chgData name="Andreas Tietze" userId="a3372cb8d9173b63" providerId="LiveId" clId="{A0F26B30-6F9A-4062-A1CA-058B33D7C232}" dt="2021-10-06T17:36:54.695" v="7610" actId="20577"/>
          <ac:spMkLst>
            <pc:docMk/>
            <pc:sldMk cId="1990986978" sldId="291"/>
            <ac:spMk id="2" creationId="{75F1A311-A342-1241-A546-DBC706E5D3D6}"/>
          </ac:spMkLst>
        </pc:spChg>
        <pc:spChg chg="mod">
          <ac:chgData name="Andreas Tietze" userId="a3372cb8d9173b63" providerId="LiveId" clId="{A0F26B30-6F9A-4062-A1CA-058B33D7C232}" dt="2021-10-06T17:37:19.482" v="7663" actId="313"/>
          <ac:spMkLst>
            <pc:docMk/>
            <pc:sldMk cId="1990986978" sldId="291"/>
            <ac:spMk id="6" creationId="{329423DD-0D7A-7F42-BA6D-195AD31A30DA}"/>
          </ac:spMkLst>
        </pc:spChg>
      </pc:sldChg>
      <pc:sldChg chg="modSp mod ord">
        <pc:chgData name="Andreas Tietze" userId="a3372cb8d9173b63" providerId="LiveId" clId="{A0F26B30-6F9A-4062-A1CA-058B33D7C232}" dt="2021-10-06T17:38:31.876" v="7684"/>
        <pc:sldMkLst>
          <pc:docMk/>
          <pc:sldMk cId="259568630" sldId="292"/>
        </pc:sldMkLst>
        <pc:spChg chg="mod">
          <ac:chgData name="Andreas Tietze" userId="a3372cb8d9173b63" providerId="LiveId" clId="{A0F26B30-6F9A-4062-A1CA-058B33D7C232}" dt="2021-10-06T17:37:40.791" v="7682" actId="20577"/>
          <ac:spMkLst>
            <pc:docMk/>
            <pc:sldMk cId="259568630" sldId="292"/>
            <ac:spMk id="2" creationId="{75F1A311-A342-1241-A546-DBC706E5D3D6}"/>
          </ac:spMkLst>
        </pc:spChg>
        <pc:spChg chg="mod">
          <ac:chgData name="Andreas Tietze" userId="a3372cb8d9173b63" providerId="LiveId" clId="{A0F26B30-6F9A-4062-A1CA-058B33D7C232}" dt="2021-10-05T17:55:46.285" v="6076" actId="27636"/>
          <ac:spMkLst>
            <pc:docMk/>
            <pc:sldMk cId="259568630" sldId="292"/>
            <ac:spMk id="6" creationId="{329423DD-0D7A-7F42-BA6D-195AD31A30DA}"/>
          </ac:spMkLst>
        </pc:spChg>
      </pc:sldChg>
      <pc:sldChg chg="addSp delSp modSp mod">
        <pc:chgData name="Andreas Tietze" userId="a3372cb8d9173b63" providerId="LiveId" clId="{A0F26B30-6F9A-4062-A1CA-058B33D7C232}" dt="2021-10-05T17:49:45.837" v="5692" actId="21"/>
        <pc:sldMkLst>
          <pc:docMk/>
          <pc:sldMk cId="3988301002" sldId="293"/>
        </pc:sldMkLst>
        <pc:spChg chg="mod">
          <ac:chgData name="Andreas Tietze" userId="a3372cb8d9173b63" providerId="LiveId" clId="{A0F26B30-6F9A-4062-A1CA-058B33D7C232}" dt="2021-10-04T18:11:06.814" v="1422" actId="1076"/>
          <ac:spMkLst>
            <pc:docMk/>
            <pc:sldMk cId="3988301002" sldId="293"/>
            <ac:spMk id="2" creationId="{75F1A311-A342-1241-A546-DBC706E5D3D6}"/>
          </ac:spMkLst>
        </pc:spChg>
        <pc:spChg chg="del">
          <ac:chgData name="Andreas Tietze" userId="a3372cb8d9173b63" providerId="LiveId" clId="{A0F26B30-6F9A-4062-A1CA-058B33D7C232}" dt="2021-10-04T18:08:13.579" v="1348" actId="478"/>
          <ac:spMkLst>
            <pc:docMk/>
            <pc:sldMk cId="3988301002" sldId="293"/>
            <ac:spMk id="6" creationId="{329423DD-0D7A-7F42-BA6D-195AD31A30DA}"/>
          </ac:spMkLst>
        </pc:spChg>
        <pc:spChg chg="add del mod">
          <ac:chgData name="Andreas Tietze" userId="a3372cb8d9173b63" providerId="LiveId" clId="{A0F26B30-6F9A-4062-A1CA-058B33D7C232}" dt="2021-10-04T18:11:07.437" v="1424"/>
          <ac:spMkLst>
            <pc:docMk/>
            <pc:sldMk cId="3988301002" sldId="293"/>
            <ac:spMk id="7" creationId="{9A354889-C3B2-49D1-A1ED-73F2D85859D8}"/>
          </ac:spMkLst>
        </pc:spChg>
        <pc:spChg chg="add mod">
          <ac:chgData name="Andreas Tietze" userId="a3372cb8d9173b63" providerId="LiveId" clId="{A0F26B30-6F9A-4062-A1CA-058B33D7C232}" dt="2021-10-04T18:15:20.416" v="1495" actId="1076"/>
          <ac:spMkLst>
            <pc:docMk/>
            <pc:sldMk cId="3988301002" sldId="293"/>
            <ac:spMk id="9" creationId="{CA26FF34-9723-4DF2-9E70-347255A2B27E}"/>
          </ac:spMkLst>
        </pc:spChg>
        <pc:picChg chg="del mod">
          <ac:chgData name="Andreas Tietze" userId="a3372cb8d9173b63" providerId="LiveId" clId="{A0F26B30-6F9A-4062-A1CA-058B33D7C232}" dt="2021-10-05T17:49:45.837" v="5692" actId="21"/>
          <ac:picMkLst>
            <pc:docMk/>
            <pc:sldMk cId="3988301002" sldId="293"/>
            <ac:picMk id="4" creationId="{3E340680-6B42-AC46-B636-97A1D85FDC80}"/>
          </ac:picMkLst>
        </pc:picChg>
        <pc:picChg chg="add mod">
          <ac:chgData name="Andreas Tietze" userId="a3372cb8d9173b63" providerId="LiveId" clId="{A0F26B30-6F9A-4062-A1CA-058B33D7C232}" dt="2021-10-05T17:49:41.610" v="5690"/>
          <ac:picMkLst>
            <pc:docMk/>
            <pc:sldMk cId="3988301002" sldId="293"/>
            <ac:picMk id="5" creationId="{E152C9DD-C16E-46C3-A6EE-B7F06175A83C}"/>
          </ac:picMkLst>
        </pc:picChg>
        <pc:picChg chg="add del mod">
          <ac:chgData name="Andreas Tietze" userId="a3372cb8d9173b63" providerId="LiveId" clId="{A0F26B30-6F9A-4062-A1CA-058B33D7C232}" dt="2021-10-04T18:12:23.906" v="1428" actId="478"/>
          <ac:picMkLst>
            <pc:docMk/>
            <pc:sldMk cId="3988301002" sldId="293"/>
            <ac:picMk id="8" creationId="{59A39F22-D64F-42FA-9834-A3C513857286}"/>
          </ac:picMkLst>
        </pc:picChg>
      </pc:sldChg>
      <pc:sldChg chg="addSp delSp modSp mod">
        <pc:chgData name="Andreas Tietze" userId="a3372cb8d9173b63" providerId="LiveId" clId="{A0F26B30-6F9A-4062-A1CA-058B33D7C232}" dt="2021-10-06T17:41:44.221" v="7692" actId="20577"/>
        <pc:sldMkLst>
          <pc:docMk/>
          <pc:sldMk cId="2275214109" sldId="294"/>
        </pc:sldMkLst>
        <pc:spChg chg="mod">
          <ac:chgData name="Andreas Tietze" userId="a3372cb8d9173b63" providerId="LiveId" clId="{A0F26B30-6F9A-4062-A1CA-058B33D7C232}" dt="2021-10-06T17:41:44.221" v="7692" actId="20577"/>
          <ac:spMkLst>
            <pc:docMk/>
            <pc:sldMk cId="2275214109" sldId="294"/>
            <ac:spMk id="2" creationId="{A232F906-414C-604E-883A-53B5A144BF71}"/>
          </ac:spMkLst>
        </pc:spChg>
        <pc:spChg chg="add del mod">
          <ac:chgData name="Andreas Tietze" userId="a3372cb8d9173b63" providerId="LiveId" clId="{A0F26B30-6F9A-4062-A1CA-058B33D7C232}" dt="2021-10-04T16:56:26.493" v="15" actId="478"/>
          <ac:spMkLst>
            <pc:docMk/>
            <pc:sldMk cId="2275214109" sldId="294"/>
            <ac:spMk id="6" creationId="{D709018C-FAED-41D0-BBFC-C8F234C19DDD}"/>
          </ac:spMkLst>
        </pc:spChg>
        <pc:picChg chg="add mod">
          <ac:chgData name="Andreas Tietze" userId="a3372cb8d9173b63" providerId="LiveId" clId="{A0F26B30-6F9A-4062-A1CA-058B33D7C232}" dt="2021-10-04T16:56:38.556" v="21" actId="1076"/>
          <ac:picMkLst>
            <pc:docMk/>
            <pc:sldMk cId="2275214109" sldId="294"/>
            <ac:picMk id="8" creationId="{4CE46382-B99E-4D6D-AD1B-43DEDC2AC508}"/>
          </ac:picMkLst>
        </pc:picChg>
        <pc:picChg chg="del">
          <ac:chgData name="Andreas Tietze" userId="a3372cb8d9173b63" providerId="LiveId" clId="{A0F26B30-6F9A-4062-A1CA-058B33D7C232}" dt="2021-10-04T16:56:23.785" v="14" actId="478"/>
          <ac:picMkLst>
            <pc:docMk/>
            <pc:sldMk cId="2275214109" sldId="294"/>
            <ac:picMk id="9" creationId="{4D9C301D-DA94-4B8E-A785-316C21AF183D}"/>
          </ac:picMkLst>
        </pc:picChg>
      </pc:sldChg>
      <pc:sldChg chg="addSp delSp modSp mod delAnim modAnim">
        <pc:chgData name="Andreas Tietze" userId="a3372cb8d9173b63" providerId="LiveId" clId="{A0F26B30-6F9A-4062-A1CA-058B33D7C232}" dt="2021-10-04T18:10:48.232" v="1420" actId="166"/>
        <pc:sldMkLst>
          <pc:docMk/>
          <pc:sldMk cId="682587984" sldId="295"/>
        </pc:sldMkLst>
        <pc:spChg chg="mod">
          <ac:chgData name="Andreas Tietze" userId="a3372cb8d9173b63" providerId="LiveId" clId="{A0F26B30-6F9A-4062-A1CA-058B33D7C232}" dt="2021-10-04T18:00:32.134" v="1206" actId="555"/>
          <ac:spMkLst>
            <pc:docMk/>
            <pc:sldMk cId="682587984" sldId="295"/>
            <ac:spMk id="9" creationId="{68B7ECBC-DC41-4486-8CAE-9164F604BD9B}"/>
          </ac:spMkLst>
        </pc:spChg>
        <pc:spChg chg="mod">
          <ac:chgData name="Andreas Tietze" userId="a3372cb8d9173b63" providerId="LiveId" clId="{A0F26B30-6F9A-4062-A1CA-058B33D7C232}" dt="2021-10-04T17:56:42.255" v="1124" actId="113"/>
          <ac:spMkLst>
            <pc:docMk/>
            <pc:sldMk cId="682587984" sldId="295"/>
            <ac:spMk id="14" creationId="{36AACDA6-1E7E-4FA3-8343-4CBE1EE9927C}"/>
          </ac:spMkLst>
        </pc:spChg>
        <pc:spChg chg="mod">
          <ac:chgData name="Andreas Tietze" userId="a3372cb8d9173b63" providerId="LiveId" clId="{A0F26B30-6F9A-4062-A1CA-058B33D7C232}" dt="2021-10-04T17:58:45.385" v="1178" actId="554"/>
          <ac:spMkLst>
            <pc:docMk/>
            <pc:sldMk cId="682587984" sldId="295"/>
            <ac:spMk id="25" creationId="{581D58C7-2016-4FED-A777-6C3589DC26D9}"/>
          </ac:spMkLst>
        </pc:spChg>
        <pc:spChg chg="mod">
          <ac:chgData name="Andreas Tietze" userId="a3372cb8d9173b63" providerId="LiveId" clId="{A0F26B30-6F9A-4062-A1CA-058B33D7C232}" dt="2021-10-04T17:58:08.960" v="1169" actId="554"/>
          <ac:spMkLst>
            <pc:docMk/>
            <pc:sldMk cId="682587984" sldId="295"/>
            <ac:spMk id="28" creationId="{40BE0466-F922-45F0-AB12-8430BC02DEA3}"/>
          </ac:spMkLst>
        </pc:spChg>
        <pc:spChg chg="mod">
          <ac:chgData name="Andreas Tietze" userId="a3372cb8d9173b63" providerId="LiveId" clId="{A0F26B30-6F9A-4062-A1CA-058B33D7C232}" dt="2021-10-04T17:59:10.907" v="1186" actId="554"/>
          <ac:spMkLst>
            <pc:docMk/>
            <pc:sldMk cId="682587984" sldId="295"/>
            <ac:spMk id="45" creationId="{36A1B7C5-4022-4B75-B34D-0A24A68B2E37}"/>
          </ac:spMkLst>
        </pc:spChg>
        <pc:spChg chg="add mod">
          <ac:chgData name="Andreas Tietze" userId="a3372cb8d9173b63" providerId="LiveId" clId="{A0F26B30-6F9A-4062-A1CA-058B33D7C232}" dt="2021-10-04T17:58:08.960" v="1169" actId="554"/>
          <ac:spMkLst>
            <pc:docMk/>
            <pc:sldMk cId="682587984" sldId="295"/>
            <ac:spMk id="50" creationId="{8EF1462F-6F1A-439B-9371-FD4F79DA9E14}"/>
          </ac:spMkLst>
        </pc:spChg>
        <pc:spChg chg="add mod">
          <ac:chgData name="Andreas Tietze" userId="a3372cb8d9173b63" providerId="LiveId" clId="{A0F26B30-6F9A-4062-A1CA-058B33D7C232}" dt="2021-10-04T17:58:45.385" v="1178" actId="554"/>
          <ac:spMkLst>
            <pc:docMk/>
            <pc:sldMk cId="682587984" sldId="295"/>
            <ac:spMk id="53" creationId="{0EA6592E-1004-4248-AB19-0825E96FF321}"/>
          </ac:spMkLst>
        </pc:spChg>
        <pc:spChg chg="add mod">
          <ac:chgData name="Andreas Tietze" userId="a3372cb8d9173b63" providerId="LiveId" clId="{A0F26B30-6F9A-4062-A1CA-058B33D7C232}" dt="2021-10-04T17:59:10.907" v="1186" actId="554"/>
          <ac:spMkLst>
            <pc:docMk/>
            <pc:sldMk cId="682587984" sldId="295"/>
            <ac:spMk id="56" creationId="{D83183B7-F39D-441D-B9ED-BA7658399C56}"/>
          </ac:spMkLst>
        </pc:spChg>
        <pc:spChg chg="add mod">
          <ac:chgData name="Andreas Tietze" userId="a3372cb8d9173b63" providerId="LiveId" clId="{A0F26B30-6F9A-4062-A1CA-058B33D7C232}" dt="2021-10-04T18:00:32.134" v="1206" actId="555"/>
          <ac:spMkLst>
            <pc:docMk/>
            <pc:sldMk cId="682587984" sldId="295"/>
            <ac:spMk id="57" creationId="{023EE194-B71A-4929-A52A-CA2AB839ABE6}"/>
          </ac:spMkLst>
        </pc:spChg>
        <pc:picChg chg="add del mod">
          <ac:chgData name="Andreas Tietze" userId="a3372cb8d9173b63" providerId="LiveId" clId="{A0F26B30-6F9A-4062-A1CA-058B33D7C232}" dt="2021-10-04T17:56:19.965" v="1118" actId="478"/>
          <ac:picMkLst>
            <pc:docMk/>
            <pc:sldMk cId="682587984" sldId="295"/>
            <ac:picMk id="4" creationId="{09EB12CC-2906-4B42-942C-C86352C2C10B}"/>
          </ac:picMkLst>
        </pc:picChg>
        <pc:picChg chg="add mod ord">
          <ac:chgData name="Andreas Tietze" userId="a3372cb8d9173b63" providerId="LiveId" clId="{A0F26B30-6F9A-4062-A1CA-058B33D7C232}" dt="2021-10-04T18:10:48.232" v="1420" actId="166"/>
          <ac:picMkLst>
            <pc:docMk/>
            <pc:sldMk cId="682587984" sldId="295"/>
            <ac:picMk id="48" creationId="{DFA31AFE-FB45-4C3C-95F6-DF66309B2098}"/>
          </ac:picMkLst>
        </pc:picChg>
        <pc:picChg chg="add del mod">
          <ac:chgData name="Andreas Tietze" userId="a3372cb8d9173b63" providerId="LiveId" clId="{A0F26B30-6F9A-4062-A1CA-058B33D7C232}" dt="2021-10-04T17:57:09.367" v="1128" actId="478"/>
          <ac:picMkLst>
            <pc:docMk/>
            <pc:sldMk cId="682587984" sldId="295"/>
            <ac:picMk id="49" creationId="{D61D3C58-0FBF-431F-B7AC-6FBFD1E0E37E}"/>
          </ac:picMkLst>
        </pc:picChg>
      </pc:sldChg>
      <pc:sldChg chg="del">
        <pc:chgData name="Andreas Tietze" userId="a3372cb8d9173b63" providerId="LiveId" clId="{A0F26B30-6F9A-4062-A1CA-058B33D7C232}" dt="2021-10-05T17:45:38.622" v="5635" actId="47"/>
        <pc:sldMkLst>
          <pc:docMk/>
          <pc:sldMk cId="1692621581" sldId="296"/>
        </pc:sldMkLst>
      </pc:sldChg>
      <pc:sldChg chg="addSp modSp mod ord">
        <pc:chgData name="Andreas Tietze" userId="a3372cb8d9173b63" providerId="LiveId" clId="{A0F26B30-6F9A-4062-A1CA-058B33D7C232}" dt="2021-10-04T19:13:59.084" v="4240" actId="403"/>
        <pc:sldMkLst>
          <pc:docMk/>
          <pc:sldMk cId="3796086717" sldId="297"/>
        </pc:sldMkLst>
        <pc:spChg chg="mod">
          <ac:chgData name="Andreas Tietze" userId="a3372cb8d9173b63" providerId="LiveId" clId="{A0F26B30-6F9A-4062-A1CA-058B33D7C232}" dt="2021-10-04T19:13:59.084" v="4240" actId="403"/>
          <ac:spMkLst>
            <pc:docMk/>
            <pc:sldMk cId="3796086717" sldId="297"/>
            <ac:spMk id="3" creationId="{AD6E852D-7CBD-4943-9DEA-470E1A634EC4}"/>
          </ac:spMkLst>
        </pc:spChg>
        <pc:spChg chg="mod">
          <ac:chgData name="Andreas Tietze" userId="a3372cb8d9173b63" providerId="LiveId" clId="{A0F26B30-6F9A-4062-A1CA-058B33D7C232}" dt="2021-10-04T18:22:27.707" v="1728" actId="1076"/>
          <ac:spMkLst>
            <pc:docMk/>
            <pc:sldMk cId="3796086717" sldId="297"/>
            <ac:spMk id="4" creationId="{F0B665A7-D80F-5A42-983E-6F3220BCB84E}"/>
          </ac:spMkLst>
        </pc:spChg>
        <pc:picChg chg="add mod modCrop">
          <ac:chgData name="Andreas Tietze" userId="a3372cb8d9173b63" providerId="LiveId" clId="{A0F26B30-6F9A-4062-A1CA-058B33D7C232}" dt="2021-10-04T18:24:16.247" v="1780" actId="1076"/>
          <ac:picMkLst>
            <pc:docMk/>
            <pc:sldMk cId="3796086717" sldId="297"/>
            <ac:picMk id="6" creationId="{02D05763-C59E-40A3-921C-3F7D482D7D2B}"/>
          </ac:picMkLst>
        </pc:picChg>
      </pc:sldChg>
      <pc:sldChg chg="addSp delSp modSp mod">
        <pc:chgData name="Andreas Tietze" userId="a3372cb8d9173b63" providerId="LiveId" clId="{A0F26B30-6F9A-4062-A1CA-058B33D7C232}" dt="2021-10-05T18:34:36.075" v="6151" actId="478"/>
        <pc:sldMkLst>
          <pc:docMk/>
          <pc:sldMk cId="4173968271" sldId="298"/>
        </pc:sldMkLst>
        <pc:spChg chg="mod">
          <ac:chgData name="Andreas Tietze" userId="a3372cb8d9173b63" providerId="LiveId" clId="{A0F26B30-6F9A-4062-A1CA-058B33D7C232}" dt="2021-10-04T18:12:34.904" v="1442" actId="20577"/>
          <ac:spMkLst>
            <pc:docMk/>
            <pc:sldMk cId="4173968271" sldId="298"/>
            <ac:spMk id="2" creationId="{75F1A311-A342-1241-A546-DBC706E5D3D6}"/>
          </ac:spMkLst>
        </pc:spChg>
        <pc:spChg chg="add del mod">
          <ac:chgData name="Andreas Tietze" userId="a3372cb8d9173b63" providerId="LiveId" clId="{A0F26B30-6F9A-4062-A1CA-058B33D7C232}" dt="2021-10-05T18:34:36.075" v="6151" actId="478"/>
          <ac:spMkLst>
            <pc:docMk/>
            <pc:sldMk cId="4173968271" sldId="298"/>
            <ac:spMk id="4" creationId="{14B19435-5436-487E-86CF-555680E1B6A0}"/>
          </ac:spMkLst>
        </pc:spChg>
        <pc:spChg chg="mod">
          <ac:chgData name="Andreas Tietze" userId="a3372cb8d9173b63" providerId="LiveId" clId="{A0F26B30-6F9A-4062-A1CA-058B33D7C232}" dt="2021-10-04T18:08:59.803" v="1358" actId="1076"/>
          <ac:spMkLst>
            <pc:docMk/>
            <pc:sldMk cId="4173968271" sldId="298"/>
            <ac:spMk id="6" creationId="{329423DD-0D7A-7F42-BA6D-195AD31A30DA}"/>
          </ac:spMkLst>
        </pc:spChg>
        <pc:picChg chg="mod">
          <ac:chgData name="Andreas Tietze" userId="a3372cb8d9173b63" providerId="LiveId" clId="{A0F26B30-6F9A-4062-A1CA-058B33D7C232}" dt="2021-10-05T17:49:35.540" v="5689" actId="1076"/>
          <ac:picMkLst>
            <pc:docMk/>
            <pc:sldMk cId="4173968271" sldId="298"/>
            <ac:picMk id="5" creationId="{C5D7F061-412D-D149-85BA-3BB7EC04D8D8}"/>
          </ac:picMkLst>
        </pc:picChg>
        <pc:picChg chg="add del mod modCrop">
          <ac:chgData name="Andreas Tietze" userId="a3372cb8d9173b63" providerId="LiveId" clId="{A0F26B30-6F9A-4062-A1CA-058B33D7C232}" dt="2021-10-05T17:49:31.266" v="5688" actId="478"/>
          <ac:picMkLst>
            <pc:docMk/>
            <pc:sldMk cId="4173968271" sldId="298"/>
            <ac:picMk id="7" creationId="{92D34B36-8A7D-4AD4-BF22-BCCF6B41E4E6}"/>
          </ac:picMkLst>
        </pc:picChg>
      </pc:sldChg>
      <pc:sldChg chg="modSp mod">
        <pc:chgData name="Andreas Tietze" userId="a3372cb8d9173b63" providerId="LiveId" clId="{A0F26B30-6F9A-4062-A1CA-058B33D7C232}" dt="2021-10-04T19:23:27.957" v="4756" actId="1076"/>
        <pc:sldMkLst>
          <pc:docMk/>
          <pc:sldMk cId="2429269197" sldId="299"/>
        </pc:sldMkLst>
        <pc:spChg chg="mod">
          <ac:chgData name="Andreas Tietze" userId="a3372cb8d9173b63" providerId="LiveId" clId="{A0F26B30-6F9A-4062-A1CA-058B33D7C232}" dt="2021-10-04T19:14:19.678" v="4258" actId="20577"/>
          <ac:spMkLst>
            <pc:docMk/>
            <pc:sldMk cId="2429269197" sldId="299"/>
            <ac:spMk id="2" creationId="{75F1A311-A342-1241-A546-DBC706E5D3D6}"/>
          </ac:spMkLst>
        </pc:spChg>
        <pc:spChg chg="mod">
          <ac:chgData name="Andreas Tietze" userId="a3372cb8d9173b63" providerId="LiveId" clId="{A0F26B30-6F9A-4062-A1CA-058B33D7C232}" dt="2021-10-04T19:23:27.957" v="4756" actId="1076"/>
          <ac:spMkLst>
            <pc:docMk/>
            <pc:sldMk cId="2429269197" sldId="299"/>
            <ac:spMk id="6" creationId="{329423DD-0D7A-7F42-BA6D-195AD31A30DA}"/>
          </ac:spMkLst>
        </pc:spChg>
      </pc:sldChg>
      <pc:sldChg chg="addSp delSp modSp mod">
        <pc:chgData name="Andreas Tietze" userId="a3372cb8d9173b63" providerId="LiveId" clId="{A0F26B30-6F9A-4062-A1CA-058B33D7C232}" dt="2021-10-06T16:50:49.469" v="6492" actId="1038"/>
        <pc:sldMkLst>
          <pc:docMk/>
          <pc:sldMk cId="2947981871" sldId="300"/>
        </pc:sldMkLst>
        <pc:spChg chg="mod">
          <ac:chgData name="Andreas Tietze" userId="a3372cb8d9173b63" providerId="LiveId" clId="{A0F26B30-6F9A-4062-A1CA-058B33D7C232}" dt="2021-10-06T16:49:30.350" v="6464" actId="1035"/>
          <ac:spMkLst>
            <pc:docMk/>
            <pc:sldMk cId="2947981871" sldId="300"/>
            <ac:spMk id="3" creationId="{AD6E852D-7CBD-4943-9DEA-470E1A634EC4}"/>
          </ac:spMkLst>
        </pc:spChg>
        <pc:spChg chg="add del mod">
          <ac:chgData name="Andreas Tietze" userId="a3372cb8d9173b63" providerId="LiveId" clId="{A0F26B30-6F9A-4062-A1CA-058B33D7C232}" dt="2021-10-06T16:37:53.366" v="6348" actId="21"/>
          <ac:spMkLst>
            <pc:docMk/>
            <pc:sldMk cId="2947981871" sldId="300"/>
            <ac:spMk id="4" creationId="{F0B665A7-D80F-5A42-983E-6F3220BCB84E}"/>
          </ac:spMkLst>
        </pc:spChg>
        <pc:spChg chg="add del mod">
          <ac:chgData name="Andreas Tietze" userId="a3372cb8d9173b63" providerId="LiveId" clId="{A0F26B30-6F9A-4062-A1CA-058B33D7C232}" dt="2021-10-06T16:37:50.581" v="6347" actId="478"/>
          <ac:spMkLst>
            <pc:docMk/>
            <pc:sldMk cId="2947981871" sldId="300"/>
            <ac:spMk id="7" creationId="{BACB7B6A-9A33-455E-B6EA-FFEB3A3DAD20}"/>
          </ac:spMkLst>
        </pc:spChg>
        <pc:spChg chg="add del mod">
          <ac:chgData name="Andreas Tietze" userId="a3372cb8d9173b63" providerId="LiveId" clId="{A0F26B30-6F9A-4062-A1CA-058B33D7C232}" dt="2021-10-06T16:40:14.894" v="6352" actId="478"/>
          <ac:spMkLst>
            <pc:docMk/>
            <pc:sldMk cId="2947981871" sldId="300"/>
            <ac:spMk id="10" creationId="{3D846551-6039-4869-8F29-22EE21816390}"/>
          </ac:spMkLst>
        </pc:spChg>
        <pc:spChg chg="add del mod">
          <ac:chgData name="Andreas Tietze" userId="a3372cb8d9173b63" providerId="LiveId" clId="{A0F26B30-6F9A-4062-A1CA-058B33D7C232}" dt="2021-10-04T18:02:37.025" v="1239" actId="478"/>
          <ac:spMkLst>
            <pc:docMk/>
            <pc:sldMk cId="2947981871" sldId="300"/>
            <ac:spMk id="10" creationId="{F2D80FE1-CD30-4B2B-A2EF-EE600C2E0C07}"/>
          </ac:spMkLst>
        </pc:spChg>
        <pc:spChg chg="add mod">
          <ac:chgData name="Andreas Tietze" userId="a3372cb8d9173b63" providerId="LiveId" clId="{A0F26B30-6F9A-4062-A1CA-058B33D7C232}" dt="2021-10-06T16:50:49.469" v="6492" actId="1038"/>
          <ac:spMkLst>
            <pc:docMk/>
            <pc:sldMk cId="2947981871" sldId="300"/>
            <ac:spMk id="14" creationId="{CEAD3363-6255-4FAC-A893-6B3DE3CDFFE3}"/>
          </ac:spMkLst>
        </pc:spChg>
        <pc:spChg chg="add mod">
          <ac:chgData name="Andreas Tietze" userId="a3372cb8d9173b63" providerId="LiveId" clId="{A0F26B30-6F9A-4062-A1CA-058B33D7C232}" dt="2021-10-06T16:50:49.469" v="6492" actId="1038"/>
          <ac:spMkLst>
            <pc:docMk/>
            <pc:sldMk cId="2947981871" sldId="300"/>
            <ac:spMk id="16" creationId="{B59B487A-8246-4E6E-9E90-AFEDC82CB50F}"/>
          </ac:spMkLst>
        </pc:spChg>
        <pc:spChg chg="add mod">
          <ac:chgData name="Andreas Tietze" userId="a3372cb8d9173b63" providerId="LiveId" clId="{A0F26B30-6F9A-4062-A1CA-058B33D7C232}" dt="2021-10-06T16:50:49.469" v="6492" actId="1038"/>
          <ac:spMkLst>
            <pc:docMk/>
            <pc:sldMk cId="2947981871" sldId="300"/>
            <ac:spMk id="18" creationId="{08CBDA6B-1B8E-489F-86C0-4CB1BD07A5FF}"/>
          </ac:spMkLst>
        </pc:spChg>
        <pc:picChg chg="add mod">
          <ac:chgData name="Andreas Tietze" userId="a3372cb8d9173b63" providerId="LiveId" clId="{A0F26B30-6F9A-4062-A1CA-058B33D7C232}" dt="2021-10-06T16:50:49.469" v="6492" actId="1038"/>
          <ac:picMkLst>
            <pc:docMk/>
            <pc:sldMk cId="2947981871" sldId="300"/>
            <ac:picMk id="6" creationId="{D7657F21-7632-4DD6-9FBF-9A234109ADD6}"/>
          </ac:picMkLst>
        </pc:picChg>
        <pc:picChg chg="add mod">
          <ac:chgData name="Andreas Tietze" userId="a3372cb8d9173b63" providerId="LiveId" clId="{A0F26B30-6F9A-4062-A1CA-058B33D7C232}" dt="2021-10-06T16:50:49.469" v="6492" actId="1038"/>
          <ac:picMkLst>
            <pc:docMk/>
            <pc:sldMk cId="2947981871" sldId="300"/>
            <ac:picMk id="8" creationId="{59911C28-D7B8-4321-8289-8E0B1945EA6A}"/>
          </ac:picMkLst>
        </pc:picChg>
        <pc:picChg chg="add mod">
          <ac:chgData name="Andreas Tietze" userId="a3372cb8d9173b63" providerId="LiveId" clId="{A0F26B30-6F9A-4062-A1CA-058B33D7C232}" dt="2021-10-06T16:50:49.469" v="6492" actId="1038"/>
          <ac:picMkLst>
            <pc:docMk/>
            <pc:sldMk cId="2947981871" sldId="300"/>
            <ac:picMk id="12" creationId="{9374BF55-957F-4BE8-9B13-E96FBFEA6C2F}"/>
          </ac:picMkLst>
        </pc:picChg>
      </pc:sldChg>
      <pc:sldChg chg="addSp delSp modSp mod">
        <pc:chgData name="Andreas Tietze" userId="a3372cb8d9173b63" providerId="LiveId" clId="{A0F26B30-6F9A-4062-A1CA-058B33D7C232}" dt="2021-10-06T17:05:25.888" v="6705" actId="1076"/>
        <pc:sldMkLst>
          <pc:docMk/>
          <pc:sldMk cId="2112942724" sldId="301"/>
        </pc:sldMkLst>
        <pc:spChg chg="del">
          <ac:chgData name="Andreas Tietze" userId="a3372cb8d9173b63" providerId="LiveId" clId="{A0F26B30-6F9A-4062-A1CA-058B33D7C232}" dt="2021-10-06T16:59:54.669" v="6494" actId="478"/>
          <ac:spMkLst>
            <pc:docMk/>
            <pc:sldMk cId="2112942724" sldId="301"/>
            <ac:spMk id="3" creationId="{AD6E852D-7CBD-4943-9DEA-470E1A634EC4}"/>
          </ac:spMkLst>
        </pc:spChg>
        <pc:spChg chg="del mod">
          <ac:chgData name="Andreas Tietze" userId="a3372cb8d9173b63" providerId="LiveId" clId="{A0F26B30-6F9A-4062-A1CA-058B33D7C232}" dt="2021-10-06T17:00:01.854" v="6497" actId="478"/>
          <ac:spMkLst>
            <pc:docMk/>
            <pc:sldMk cId="2112942724" sldId="301"/>
            <ac:spMk id="4" creationId="{F0B665A7-D80F-5A42-983E-6F3220BCB84E}"/>
          </ac:spMkLst>
        </pc:spChg>
        <pc:spChg chg="add del mod">
          <ac:chgData name="Andreas Tietze" userId="a3372cb8d9173b63" providerId="LiveId" clId="{A0F26B30-6F9A-4062-A1CA-058B33D7C232}" dt="2021-10-06T16:59:56.776" v="6495" actId="478"/>
          <ac:spMkLst>
            <pc:docMk/>
            <pc:sldMk cId="2112942724" sldId="301"/>
            <ac:spMk id="6" creationId="{181F239A-D836-4A07-A081-2FF34ADB9A83}"/>
          </ac:spMkLst>
        </pc:spChg>
        <pc:spChg chg="add mod">
          <ac:chgData name="Andreas Tietze" userId="a3372cb8d9173b63" providerId="LiveId" clId="{A0F26B30-6F9A-4062-A1CA-058B33D7C232}" dt="2021-10-06T17:05:25.888" v="6705" actId="1076"/>
          <ac:spMkLst>
            <pc:docMk/>
            <pc:sldMk cId="2112942724" sldId="301"/>
            <ac:spMk id="7" creationId="{DE7CFA35-DAC2-4518-B579-9AC14D0AC68F}"/>
          </ac:spMkLst>
        </pc:spChg>
        <pc:spChg chg="add del mod">
          <ac:chgData name="Andreas Tietze" userId="a3372cb8d9173b63" providerId="LiveId" clId="{A0F26B30-6F9A-4062-A1CA-058B33D7C232}" dt="2021-10-06T17:00:15.080" v="6498" actId="478"/>
          <ac:spMkLst>
            <pc:docMk/>
            <pc:sldMk cId="2112942724" sldId="301"/>
            <ac:spMk id="9" creationId="{818D5D2E-8E91-4A0E-BC09-7C807462479B}"/>
          </ac:spMkLst>
        </pc:spChg>
        <pc:picChg chg="add mod">
          <ac:chgData name="Andreas Tietze" userId="a3372cb8d9173b63" providerId="LiveId" clId="{A0F26B30-6F9A-4062-A1CA-058B33D7C232}" dt="2021-10-06T17:05:24.096" v="6704" actId="1076"/>
          <ac:picMkLst>
            <pc:docMk/>
            <pc:sldMk cId="2112942724" sldId="301"/>
            <ac:picMk id="10" creationId="{7F6AE8DE-110C-4E01-A20A-551313574567}"/>
          </ac:picMkLst>
        </pc:picChg>
      </pc:sldChg>
      <pc:sldChg chg="addSp delSp modSp mod">
        <pc:chgData name="Andreas Tietze" userId="a3372cb8d9173b63" providerId="LiveId" clId="{A0F26B30-6F9A-4062-A1CA-058B33D7C232}" dt="2021-10-06T17:49:48.143" v="7724" actId="20577"/>
        <pc:sldMkLst>
          <pc:docMk/>
          <pc:sldMk cId="177315397" sldId="302"/>
        </pc:sldMkLst>
        <pc:spChg chg="mod">
          <ac:chgData name="Andreas Tietze" userId="a3372cb8d9173b63" providerId="LiveId" clId="{A0F26B30-6F9A-4062-A1CA-058B33D7C232}" dt="2021-10-06T17:49:48.143" v="7724" actId="20577"/>
          <ac:spMkLst>
            <pc:docMk/>
            <pc:sldMk cId="177315397" sldId="302"/>
            <ac:spMk id="3" creationId="{AD6E852D-7CBD-4943-9DEA-470E1A634EC4}"/>
          </ac:spMkLst>
        </pc:spChg>
        <pc:spChg chg="del mod">
          <ac:chgData name="Andreas Tietze" userId="a3372cb8d9173b63" providerId="LiveId" clId="{A0F26B30-6F9A-4062-A1CA-058B33D7C232}" dt="2021-10-06T17:21:49.487" v="7330" actId="478"/>
          <ac:spMkLst>
            <pc:docMk/>
            <pc:sldMk cId="177315397" sldId="302"/>
            <ac:spMk id="4" creationId="{F0B665A7-D80F-5A42-983E-6F3220BCB84E}"/>
          </ac:spMkLst>
        </pc:spChg>
        <pc:spChg chg="add del mod">
          <ac:chgData name="Andreas Tietze" userId="a3372cb8d9173b63" providerId="LiveId" clId="{A0F26B30-6F9A-4062-A1CA-058B33D7C232}" dt="2021-10-06T17:21:51.633" v="7331" actId="478"/>
          <ac:spMkLst>
            <pc:docMk/>
            <pc:sldMk cId="177315397" sldId="302"/>
            <ac:spMk id="7" creationId="{D9EE1EA7-3615-49F0-BDDB-5C5678A3B86F}"/>
          </ac:spMkLst>
        </pc:spChg>
        <pc:picChg chg="add mod">
          <ac:chgData name="Andreas Tietze" userId="a3372cb8d9173b63" providerId="LiveId" clId="{A0F26B30-6F9A-4062-A1CA-058B33D7C232}" dt="2021-10-06T17:24:03.058" v="7368" actId="1076"/>
          <ac:picMkLst>
            <pc:docMk/>
            <pc:sldMk cId="177315397" sldId="302"/>
            <ac:picMk id="5" creationId="{18ED60E3-E214-45B1-A785-0C2142DD1967}"/>
          </ac:picMkLst>
        </pc:picChg>
      </pc:sldChg>
      <pc:sldChg chg="del">
        <pc:chgData name="Andreas Tietze" userId="a3372cb8d9173b63" providerId="LiveId" clId="{A0F26B30-6F9A-4062-A1CA-058B33D7C232}" dt="2021-10-04T18:01:16.950" v="1230" actId="47"/>
        <pc:sldMkLst>
          <pc:docMk/>
          <pc:sldMk cId="922232606" sldId="303"/>
        </pc:sldMkLst>
      </pc:sldChg>
      <pc:sldChg chg="del">
        <pc:chgData name="Andreas Tietze" userId="a3372cb8d9173b63" providerId="LiveId" clId="{A0F26B30-6F9A-4062-A1CA-058B33D7C232}" dt="2021-10-04T18:04:52.378" v="1285" actId="47"/>
        <pc:sldMkLst>
          <pc:docMk/>
          <pc:sldMk cId="4230846390" sldId="306"/>
        </pc:sldMkLst>
      </pc:sldChg>
      <pc:sldChg chg="del">
        <pc:chgData name="Andreas Tietze" userId="a3372cb8d9173b63" providerId="LiveId" clId="{A0F26B30-6F9A-4062-A1CA-058B33D7C232}" dt="2021-10-04T18:09:55.161" v="1411" actId="47"/>
        <pc:sldMkLst>
          <pc:docMk/>
          <pc:sldMk cId="3984019289" sldId="307"/>
        </pc:sldMkLst>
      </pc:sldChg>
      <pc:sldChg chg="del">
        <pc:chgData name="Andreas Tietze" userId="a3372cb8d9173b63" providerId="LiveId" clId="{A0F26B30-6F9A-4062-A1CA-058B33D7C232}" dt="2021-10-04T18:11:22.239" v="1425" actId="47"/>
        <pc:sldMkLst>
          <pc:docMk/>
          <pc:sldMk cId="3698179190" sldId="308"/>
        </pc:sldMkLst>
      </pc:sldChg>
      <pc:sldChg chg="addSp delSp modSp mod ord">
        <pc:chgData name="Andreas Tietze" userId="a3372cb8d9173b63" providerId="LiveId" clId="{A0F26B30-6F9A-4062-A1CA-058B33D7C232}" dt="2021-10-05T17:37:43.079" v="5309" actId="1076"/>
        <pc:sldMkLst>
          <pc:docMk/>
          <pc:sldMk cId="385081367" sldId="309"/>
        </pc:sldMkLst>
        <pc:spChg chg="mod">
          <ac:chgData name="Andreas Tietze" userId="a3372cb8d9173b63" providerId="LiveId" clId="{A0F26B30-6F9A-4062-A1CA-058B33D7C232}" dt="2021-10-05T17:37:31.146" v="5307" actId="6549"/>
          <ac:spMkLst>
            <pc:docMk/>
            <pc:sldMk cId="385081367" sldId="309"/>
            <ac:spMk id="2" creationId="{570ABE5E-A852-534C-A694-8ED03FD176A7}"/>
          </ac:spMkLst>
        </pc:spChg>
        <pc:spChg chg="add del mod">
          <ac:chgData name="Andreas Tietze" userId="a3372cb8d9173b63" providerId="LiveId" clId="{A0F26B30-6F9A-4062-A1CA-058B33D7C232}" dt="2021-10-05T17:36:50.148" v="5296" actId="21"/>
          <ac:spMkLst>
            <pc:docMk/>
            <pc:sldMk cId="385081367" sldId="309"/>
            <ac:spMk id="4" creationId="{11D60EC4-9333-4B6A-B436-86C5E7BF2D08}"/>
          </ac:spMkLst>
        </pc:spChg>
        <pc:spChg chg="add del mod">
          <ac:chgData name="Andreas Tietze" userId="a3372cb8d9173b63" providerId="LiveId" clId="{A0F26B30-6F9A-4062-A1CA-058B33D7C232}" dt="2021-10-05T17:36:47.810" v="5295" actId="21"/>
          <ac:spMkLst>
            <pc:docMk/>
            <pc:sldMk cId="385081367" sldId="309"/>
            <ac:spMk id="5" creationId="{3B414C2A-9C28-4522-951F-ACD877682A53}"/>
          </ac:spMkLst>
        </pc:spChg>
        <pc:spChg chg="add del mod">
          <ac:chgData name="Andreas Tietze" userId="a3372cb8d9173b63" providerId="LiveId" clId="{A0F26B30-6F9A-4062-A1CA-058B33D7C232}" dt="2021-10-05T17:37:21.388" v="5300" actId="478"/>
          <ac:spMkLst>
            <pc:docMk/>
            <pc:sldMk cId="385081367" sldId="309"/>
            <ac:spMk id="8" creationId="{6C9CC250-7278-41FE-A959-7696B96CEC8F}"/>
          </ac:spMkLst>
        </pc:spChg>
        <pc:picChg chg="mod modCrop">
          <ac:chgData name="Andreas Tietze" userId="a3372cb8d9173b63" providerId="LiveId" clId="{A0F26B30-6F9A-4062-A1CA-058B33D7C232}" dt="2021-10-05T17:35:31.849" v="5247" actId="1076"/>
          <ac:picMkLst>
            <pc:docMk/>
            <pc:sldMk cId="385081367" sldId="309"/>
            <ac:picMk id="7" creationId="{6D8BED28-8124-6948-9D39-FE09DD2372AC}"/>
          </ac:picMkLst>
        </pc:picChg>
        <pc:picChg chg="add mod">
          <ac:chgData name="Andreas Tietze" userId="a3372cb8d9173b63" providerId="LiveId" clId="{A0F26B30-6F9A-4062-A1CA-058B33D7C232}" dt="2021-10-05T17:37:43.079" v="5309" actId="1076"/>
          <ac:picMkLst>
            <pc:docMk/>
            <pc:sldMk cId="385081367" sldId="309"/>
            <ac:picMk id="10" creationId="{7DAC5988-AF08-4C0A-AEBD-D4A61392032A}"/>
          </ac:picMkLst>
        </pc:picChg>
      </pc:sldChg>
      <pc:sldChg chg="addSp delSp modSp mod ord modAnim">
        <pc:chgData name="Andreas Tietze" userId="a3372cb8d9173b63" providerId="LiveId" clId="{A0F26B30-6F9A-4062-A1CA-058B33D7C232}" dt="2021-10-05T17:44:18.266" v="5627"/>
        <pc:sldMkLst>
          <pc:docMk/>
          <pc:sldMk cId="230010910" sldId="310"/>
        </pc:sldMkLst>
        <pc:spChg chg="add del mod">
          <ac:chgData name="Andreas Tietze" userId="a3372cb8d9173b63" providerId="LiveId" clId="{A0F26B30-6F9A-4062-A1CA-058B33D7C232}" dt="2021-10-05T17:38:19.215" v="5316" actId="478"/>
          <ac:spMkLst>
            <pc:docMk/>
            <pc:sldMk cId="230010910" sldId="310"/>
            <ac:spMk id="3" creationId="{8E25CB12-0172-4807-BC84-31EF1D716A83}"/>
          </ac:spMkLst>
        </pc:spChg>
        <pc:spChg chg="add del mod">
          <ac:chgData name="Andreas Tietze" userId="a3372cb8d9173b63" providerId="LiveId" clId="{A0F26B30-6F9A-4062-A1CA-058B33D7C232}" dt="2021-10-05T17:38:16.122" v="5315" actId="478"/>
          <ac:spMkLst>
            <pc:docMk/>
            <pc:sldMk cId="230010910" sldId="310"/>
            <ac:spMk id="31" creationId="{C42A19AF-3032-4608-9850-10AA416B78DC}"/>
          </ac:spMkLst>
        </pc:spChg>
        <pc:spChg chg="add mod">
          <ac:chgData name="Andreas Tietze" userId="a3372cb8d9173b63" providerId="LiveId" clId="{A0F26B30-6F9A-4062-A1CA-058B33D7C232}" dt="2021-10-05T17:43:24.343" v="5603" actId="20577"/>
          <ac:spMkLst>
            <pc:docMk/>
            <pc:sldMk cId="230010910" sldId="310"/>
            <ac:spMk id="34" creationId="{7218BFC3-A1A0-4575-ABBA-4AF25D6A0047}"/>
          </ac:spMkLst>
        </pc:spChg>
        <pc:spChg chg="add mod">
          <ac:chgData name="Andreas Tietze" userId="a3372cb8d9173b63" providerId="LiveId" clId="{A0F26B30-6F9A-4062-A1CA-058B33D7C232}" dt="2021-10-05T17:43:56.679" v="5624" actId="1076"/>
          <ac:spMkLst>
            <pc:docMk/>
            <pc:sldMk cId="230010910" sldId="310"/>
            <ac:spMk id="36" creationId="{8125AD87-D1A1-4101-8A4E-CFBD891C8F5B}"/>
          </ac:spMkLst>
        </pc:spChg>
        <pc:grpChg chg="mod">
          <ac:chgData name="Andreas Tietze" userId="a3372cb8d9173b63" providerId="LiveId" clId="{A0F26B30-6F9A-4062-A1CA-058B33D7C232}" dt="2021-10-05T17:39:38.243" v="5415" actId="1076"/>
          <ac:grpSpMkLst>
            <pc:docMk/>
            <pc:sldMk cId="230010910" sldId="310"/>
            <ac:grpSpMk id="4" creationId="{BB281E81-9C19-4FF8-B52D-9E9385BEE96A}"/>
          </ac:grpSpMkLst>
        </pc:grpChg>
        <pc:grpChg chg="mod">
          <ac:chgData name="Andreas Tietze" userId="a3372cb8d9173b63" providerId="LiveId" clId="{A0F26B30-6F9A-4062-A1CA-058B33D7C232}" dt="2021-10-05T17:39:40.612" v="5416" actId="1076"/>
          <ac:grpSpMkLst>
            <pc:docMk/>
            <pc:sldMk cId="230010910" sldId="310"/>
            <ac:grpSpMk id="47" creationId="{688FC8CE-6D58-4AD5-BAE1-DD03CBC9A115}"/>
          </ac:grpSpMkLst>
        </pc:grpChg>
      </pc:sldChg>
      <pc:sldChg chg="addSp delSp modSp new del mod">
        <pc:chgData name="Andreas Tietze" userId="a3372cb8d9173b63" providerId="LiveId" clId="{A0F26B30-6F9A-4062-A1CA-058B33D7C232}" dt="2021-10-04T18:12:49.158" v="1444" actId="47"/>
        <pc:sldMkLst>
          <pc:docMk/>
          <pc:sldMk cId="3601911098" sldId="311"/>
        </pc:sldMkLst>
        <pc:spChg chg="mod">
          <ac:chgData name="Andreas Tietze" userId="a3372cb8d9173b63" providerId="LiveId" clId="{A0F26B30-6F9A-4062-A1CA-058B33D7C232}" dt="2021-10-04T17:01:11.472" v="260" actId="20577"/>
          <ac:spMkLst>
            <pc:docMk/>
            <pc:sldMk cId="3601911098" sldId="311"/>
            <ac:spMk id="2" creationId="{F2C1EA68-0048-4658-8540-39FF19B2FA08}"/>
          </ac:spMkLst>
        </pc:spChg>
        <pc:spChg chg="del">
          <ac:chgData name="Andreas Tietze" userId="a3372cb8d9173b63" providerId="LiveId" clId="{A0F26B30-6F9A-4062-A1CA-058B33D7C232}" dt="2021-10-04T17:00:53.910" v="234" actId="478"/>
          <ac:spMkLst>
            <pc:docMk/>
            <pc:sldMk cId="3601911098" sldId="311"/>
            <ac:spMk id="3" creationId="{A0920812-C147-4D37-AC15-4BA917DEE972}"/>
          </ac:spMkLst>
        </pc:spChg>
        <pc:spChg chg="del">
          <ac:chgData name="Andreas Tietze" userId="a3372cb8d9173b63" providerId="LiveId" clId="{A0F26B30-6F9A-4062-A1CA-058B33D7C232}" dt="2021-10-04T17:00:54.543" v="235" actId="478"/>
          <ac:spMkLst>
            <pc:docMk/>
            <pc:sldMk cId="3601911098" sldId="311"/>
            <ac:spMk id="4" creationId="{9E4CB1F3-71EE-44F1-84D2-DA85BB2710CA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5" creationId="{B2E8E0CD-ED45-4299-83F9-46F903B42ADC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7" creationId="{BDEB7983-F452-45F0-BDF1-24EFF4545AED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8" creationId="{2EE0FE28-DF42-4907-B2B0-9FFFD2AA86D1}"/>
          </ac:spMkLst>
        </pc:spChg>
        <pc:spChg chg="add mod">
          <ac:chgData name="Andreas Tietze" userId="a3372cb8d9173b63" providerId="LiveId" clId="{A0F26B30-6F9A-4062-A1CA-058B33D7C232}" dt="2021-10-04T17:01:50.219" v="299" actId="20577"/>
          <ac:spMkLst>
            <pc:docMk/>
            <pc:sldMk cId="3601911098" sldId="311"/>
            <ac:spMk id="9" creationId="{8FD78882-85FB-4D24-A479-69D3DC0BD15F}"/>
          </ac:spMkLst>
        </pc:spChg>
        <pc:spChg chg="add mod">
          <ac:chgData name="Andreas Tietze" userId="a3372cb8d9173b63" providerId="LiveId" clId="{A0F26B30-6F9A-4062-A1CA-058B33D7C232}" dt="2021-10-04T17:33:33.565" v="355" actId="1076"/>
          <ac:spMkLst>
            <pc:docMk/>
            <pc:sldMk cId="3601911098" sldId="311"/>
            <ac:spMk id="10" creationId="{0A7D8386-8E31-417B-B591-DA12B2C7A8D8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11" creationId="{CB78A274-6554-4D54-BFEC-4E1ED9A779B2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12" creationId="{1A0F03E1-3F50-4F88-BAC1-C134A7FA0AFC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13" creationId="{BD2C7AC8-308E-43AE-AAA5-163DD658AA49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14" creationId="{89FBD7B1-235B-43A9-8FAC-4EB9E6F5169F}"/>
          </ac:spMkLst>
        </pc:spChg>
        <pc:spChg chg="add mod">
          <ac:chgData name="Andreas Tietze" userId="a3372cb8d9173b63" providerId="LiveId" clId="{A0F26B30-6F9A-4062-A1CA-058B33D7C232}" dt="2021-10-04T17:00:56.058" v="236"/>
          <ac:spMkLst>
            <pc:docMk/>
            <pc:sldMk cId="3601911098" sldId="311"/>
            <ac:spMk id="15" creationId="{C75ADC5C-4662-4E9A-ADEC-0335151DF540}"/>
          </ac:spMkLst>
        </pc:spChg>
        <pc:spChg chg="add mod">
          <ac:chgData name="Andreas Tietze" userId="a3372cb8d9173b63" providerId="LiveId" clId="{A0F26B30-6F9A-4062-A1CA-058B33D7C232}" dt="2021-10-04T17:01:28.432" v="284" actId="21"/>
          <ac:spMkLst>
            <pc:docMk/>
            <pc:sldMk cId="3601911098" sldId="311"/>
            <ac:spMk id="24" creationId="{76BF5479-B0FD-48E8-A4A6-74AB01FCC0CC}"/>
          </ac:spMkLst>
        </pc:spChg>
        <pc:spChg chg="add del mod">
          <ac:chgData name="Andreas Tietze" userId="a3372cb8d9173b63" providerId="LiveId" clId="{A0F26B30-6F9A-4062-A1CA-058B33D7C232}" dt="2021-10-04T17:35:10.308" v="360" actId="478"/>
          <ac:spMkLst>
            <pc:docMk/>
            <pc:sldMk cId="3601911098" sldId="311"/>
            <ac:spMk id="25" creationId="{9DFF16D0-D755-4959-8F49-2C118457E074}"/>
          </ac:spMkLst>
        </pc:spChg>
        <pc:spChg chg="add del mod">
          <ac:chgData name="Andreas Tietze" userId="a3372cb8d9173b63" providerId="LiveId" clId="{A0F26B30-6F9A-4062-A1CA-058B33D7C232}" dt="2021-10-04T17:35:09.877" v="359" actId="478"/>
          <ac:spMkLst>
            <pc:docMk/>
            <pc:sldMk cId="3601911098" sldId="311"/>
            <ac:spMk id="26" creationId="{8FC669BC-D61C-4258-BA5A-67B3ED3AE173}"/>
          </ac:spMkLst>
        </pc:spChg>
        <pc:spChg chg="add mod">
          <ac:chgData name="Andreas Tietze" userId="a3372cb8d9173b63" providerId="LiveId" clId="{A0F26B30-6F9A-4062-A1CA-058B33D7C232}" dt="2021-10-04T17:33:10.303" v="341" actId="1076"/>
          <ac:spMkLst>
            <pc:docMk/>
            <pc:sldMk cId="3601911098" sldId="311"/>
            <ac:spMk id="27" creationId="{B1C0BB78-33AE-42B9-8E5C-EED8E6C4F1ED}"/>
          </ac:spMkLst>
        </pc:sp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6" creationId="{9F0F7613-10A6-44E0-871B-CA81CEEF7A14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16" creationId="{0F4EF403-C65F-4BF5-9EB1-951F27538BE2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17" creationId="{FE72F86B-5601-465F-9905-98F9D31F549E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18" creationId="{B6427D7A-7A57-49EA-803A-A8AAE1081DB8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19" creationId="{8FAA4CBB-EBAA-44AC-ADDC-BC800B55FD5D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20" creationId="{B416E975-5EA0-4362-B123-EE7657864C8E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21" creationId="{ED28AD18-F973-4008-B209-E8F2089092C2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22" creationId="{1397A215-3265-4DAE-86F8-9EA5E74E9F5C}"/>
          </ac:cxnSpMkLst>
        </pc:cxnChg>
        <pc:cxnChg chg="add mod">
          <ac:chgData name="Andreas Tietze" userId="a3372cb8d9173b63" providerId="LiveId" clId="{A0F26B30-6F9A-4062-A1CA-058B33D7C232}" dt="2021-10-04T17:00:56.058" v="236"/>
          <ac:cxnSpMkLst>
            <pc:docMk/>
            <pc:sldMk cId="3601911098" sldId="311"/>
            <ac:cxnSpMk id="23" creationId="{C0EE1C4D-E2AD-4823-A9AE-8DF77BA3A943}"/>
          </ac:cxnSpMkLst>
        </pc:cxnChg>
      </pc:sldChg>
      <pc:sldChg chg="addSp delSp modSp new mod modAnim">
        <pc:chgData name="Andreas Tietze" userId="a3372cb8d9173b63" providerId="LiveId" clId="{A0F26B30-6F9A-4062-A1CA-058B33D7C232}" dt="2021-10-06T17:50:52.744" v="7728"/>
        <pc:sldMkLst>
          <pc:docMk/>
          <pc:sldMk cId="4289346376" sldId="312"/>
        </pc:sldMkLst>
        <pc:spChg chg="mod">
          <ac:chgData name="Andreas Tietze" userId="a3372cb8d9173b63" providerId="LiveId" clId="{A0F26B30-6F9A-4062-A1CA-058B33D7C232}" dt="2021-10-04T18:00:55.062" v="1229" actId="20577"/>
          <ac:spMkLst>
            <pc:docMk/>
            <pc:sldMk cId="4289346376" sldId="312"/>
            <ac:spMk id="2" creationId="{96A97AD9-74AD-4AAB-820B-F41EA3CEDF1D}"/>
          </ac:spMkLst>
        </pc:spChg>
        <pc:spChg chg="del">
          <ac:chgData name="Andreas Tietze" userId="a3372cb8d9173b63" providerId="LiveId" clId="{A0F26B30-6F9A-4062-A1CA-058B33D7C232}" dt="2021-10-04T17:35:27.092" v="363" actId="478"/>
          <ac:spMkLst>
            <pc:docMk/>
            <pc:sldMk cId="4289346376" sldId="312"/>
            <ac:spMk id="3" creationId="{C8724DF6-51CE-4C30-8770-D7F9A232A25A}"/>
          </ac:spMkLst>
        </pc:spChg>
        <pc:spChg chg="del">
          <ac:chgData name="Andreas Tietze" userId="a3372cb8d9173b63" providerId="LiveId" clId="{A0F26B30-6F9A-4062-A1CA-058B33D7C232}" dt="2021-10-04T17:35:26.243" v="362" actId="478"/>
          <ac:spMkLst>
            <pc:docMk/>
            <pc:sldMk cId="4289346376" sldId="312"/>
            <ac:spMk id="4" creationId="{42416E9F-45DE-40FA-8C7D-E532C20242B3}"/>
          </ac:spMkLst>
        </pc:spChg>
        <pc:spChg chg="add mod">
          <ac:chgData name="Andreas Tietze" userId="a3372cb8d9173b63" providerId="LiveId" clId="{A0F26B30-6F9A-4062-A1CA-058B33D7C232}" dt="2021-10-04T17:51:03.851" v="1013" actId="1076"/>
          <ac:spMkLst>
            <pc:docMk/>
            <pc:sldMk cId="4289346376" sldId="312"/>
            <ac:spMk id="6" creationId="{4C0F07D2-332A-4112-B63A-C2BBA40417CE}"/>
          </ac:spMkLst>
        </pc:spChg>
        <pc:spChg chg="add mod">
          <ac:chgData name="Andreas Tietze" userId="a3372cb8d9173b63" providerId="LiveId" clId="{A0F26B30-6F9A-4062-A1CA-058B33D7C232}" dt="2021-10-04T17:49:03.774" v="809" actId="1076"/>
          <ac:spMkLst>
            <pc:docMk/>
            <pc:sldMk cId="4289346376" sldId="312"/>
            <ac:spMk id="7" creationId="{772D6DD2-56CC-4FCD-B584-3D06BB5ECBD6}"/>
          </ac:spMkLst>
        </pc:spChg>
        <pc:spChg chg="add mod">
          <ac:chgData name="Andreas Tietze" userId="a3372cb8d9173b63" providerId="LiveId" clId="{A0F26B30-6F9A-4062-A1CA-058B33D7C232}" dt="2021-10-06T17:27:32.792" v="7378" actId="1076"/>
          <ac:spMkLst>
            <pc:docMk/>
            <pc:sldMk cId="4289346376" sldId="312"/>
            <ac:spMk id="8" creationId="{DFB05CE8-B782-465B-86C1-CA80E7B699FC}"/>
          </ac:spMkLst>
        </pc:spChg>
        <pc:spChg chg="add mod">
          <ac:chgData name="Andreas Tietze" userId="a3372cb8d9173b63" providerId="LiveId" clId="{A0F26B30-6F9A-4062-A1CA-058B33D7C232}" dt="2021-10-04T17:49:07.638" v="811" actId="1076"/>
          <ac:spMkLst>
            <pc:docMk/>
            <pc:sldMk cId="4289346376" sldId="312"/>
            <ac:spMk id="9" creationId="{0007B53D-2314-407F-9542-65553C73F005}"/>
          </ac:spMkLst>
        </pc:spChg>
        <pc:spChg chg="add mod">
          <ac:chgData name="Andreas Tietze" userId="a3372cb8d9173b63" providerId="LiveId" clId="{A0F26B30-6F9A-4062-A1CA-058B33D7C232}" dt="2021-10-04T17:45:42.913" v="692" actId="20577"/>
          <ac:spMkLst>
            <pc:docMk/>
            <pc:sldMk cId="4289346376" sldId="312"/>
            <ac:spMk id="10" creationId="{7610688B-56A9-4FEA-8415-9FEE705C56F8}"/>
          </ac:spMkLst>
        </pc:spChg>
        <pc:spChg chg="add mod">
          <ac:chgData name="Andreas Tietze" userId="a3372cb8d9173b63" providerId="LiveId" clId="{A0F26B30-6F9A-4062-A1CA-058B33D7C232}" dt="2021-10-04T17:49:02.292" v="808" actId="1076"/>
          <ac:spMkLst>
            <pc:docMk/>
            <pc:sldMk cId="4289346376" sldId="312"/>
            <ac:spMk id="11" creationId="{684DF17F-7DD5-41D6-8FAD-A2E94931762D}"/>
          </ac:spMkLst>
        </pc:spChg>
        <pc:spChg chg="add mod">
          <ac:chgData name="Andreas Tietze" userId="a3372cb8d9173b63" providerId="LiveId" clId="{A0F26B30-6F9A-4062-A1CA-058B33D7C232}" dt="2021-10-04T17:48:59.384" v="806" actId="1076"/>
          <ac:spMkLst>
            <pc:docMk/>
            <pc:sldMk cId="4289346376" sldId="312"/>
            <ac:spMk id="12" creationId="{A76B95B1-A37D-4643-AD14-82F5564A3560}"/>
          </ac:spMkLst>
        </pc:spChg>
        <pc:spChg chg="add del mod">
          <ac:chgData name="Andreas Tietze" userId="a3372cb8d9173b63" providerId="LiveId" clId="{A0F26B30-6F9A-4062-A1CA-058B33D7C232}" dt="2021-10-04T17:47:26.350" v="747" actId="478"/>
          <ac:spMkLst>
            <pc:docMk/>
            <pc:sldMk cId="4289346376" sldId="312"/>
            <ac:spMk id="13" creationId="{F7C89C00-7FD7-4FC0-8BDB-F6ABB38C5A27}"/>
          </ac:spMkLst>
        </pc:spChg>
        <pc:spChg chg="add mod">
          <ac:chgData name="Andreas Tietze" userId="a3372cb8d9173b63" providerId="LiveId" clId="{A0F26B30-6F9A-4062-A1CA-058B33D7C232}" dt="2021-10-04T18:19:12.906" v="1528" actId="1076"/>
          <ac:spMkLst>
            <pc:docMk/>
            <pc:sldMk cId="4289346376" sldId="312"/>
            <ac:spMk id="14" creationId="{95EAB7C7-8495-47E2-B9D7-CB7A70BB04E4}"/>
          </ac:spMkLst>
        </pc:spChg>
        <pc:spChg chg="add mod">
          <ac:chgData name="Andreas Tietze" userId="a3372cb8d9173b63" providerId="LiveId" clId="{A0F26B30-6F9A-4062-A1CA-058B33D7C232}" dt="2021-10-04T18:18:28.741" v="1505" actId="122"/>
          <ac:spMkLst>
            <pc:docMk/>
            <pc:sldMk cId="4289346376" sldId="312"/>
            <ac:spMk id="15" creationId="{80D4C783-7C32-4D2B-B301-05E9A72AA773}"/>
          </ac:spMkLst>
        </pc:spChg>
        <pc:spChg chg="add del mod">
          <ac:chgData name="Andreas Tietze" userId="a3372cb8d9173b63" providerId="LiveId" clId="{A0F26B30-6F9A-4062-A1CA-058B33D7C232}" dt="2021-10-04T17:47:14.518" v="738" actId="478"/>
          <ac:spMkLst>
            <pc:docMk/>
            <pc:sldMk cId="4289346376" sldId="312"/>
            <ac:spMk id="16" creationId="{ED655339-9723-415A-A8FD-59A414521077}"/>
          </ac:spMkLst>
        </pc:spChg>
        <pc:spChg chg="add mod">
          <ac:chgData name="Andreas Tietze" userId="a3372cb8d9173b63" providerId="LiveId" clId="{A0F26B30-6F9A-4062-A1CA-058B33D7C232}" dt="2021-10-04T17:48:47.853" v="797" actId="14100"/>
          <ac:spMkLst>
            <pc:docMk/>
            <pc:sldMk cId="4289346376" sldId="312"/>
            <ac:spMk id="17" creationId="{719193F1-0207-45D5-9C1E-C6503BA071DF}"/>
          </ac:spMkLst>
        </pc:spChg>
        <pc:spChg chg="add mod">
          <ac:chgData name="Andreas Tietze" userId="a3372cb8d9173b63" providerId="LiveId" clId="{A0F26B30-6F9A-4062-A1CA-058B33D7C232}" dt="2021-10-04T18:18:28.741" v="1505" actId="122"/>
          <ac:spMkLst>
            <pc:docMk/>
            <pc:sldMk cId="4289346376" sldId="312"/>
            <ac:spMk id="18" creationId="{01C1C281-B3CB-4BCB-A178-019DACF317C3}"/>
          </ac:spMkLst>
        </pc:spChg>
        <pc:spChg chg="add del mod">
          <ac:chgData name="Andreas Tietze" userId="a3372cb8d9173b63" providerId="LiveId" clId="{A0F26B30-6F9A-4062-A1CA-058B33D7C232}" dt="2021-10-04T18:13:28.680" v="1447" actId="478"/>
          <ac:spMkLst>
            <pc:docMk/>
            <pc:sldMk cId="4289346376" sldId="312"/>
            <ac:spMk id="19" creationId="{2017387E-5F67-45CA-AF26-7BF139E658BE}"/>
          </ac:spMkLst>
        </pc:spChg>
        <pc:spChg chg="add del mod">
          <ac:chgData name="Andreas Tietze" userId="a3372cb8d9173b63" providerId="LiveId" clId="{A0F26B30-6F9A-4062-A1CA-058B33D7C232}" dt="2021-10-06T16:40:08.630" v="6351" actId="478"/>
          <ac:spMkLst>
            <pc:docMk/>
            <pc:sldMk cId="4289346376" sldId="312"/>
            <ac:spMk id="19" creationId="{3E52FA21-D0A8-4C63-BA95-8773DD3C4AD8}"/>
          </ac:spMkLst>
        </pc:spChg>
        <pc:spChg chg="add mod">
          <ac:chgData name="Andreas Tietze" userId="a3372cb8d9173b63" providerId="LiveId" clId="{A0F26B30-6F9A-4062-A1CA-058B33D7C232}" dt="2021-10-04T18:19:05.401" v="1527" actId="1076"/>
          <ac:spMkLst>
            <pc:docMk/>
            <pc:sldMk cId="4289346376" sldId="312"/>
            <ac:spMk id="20" creationId="{7DBD16A3-FEE2-408B-86A6-50F068BC502C}"/>
          </ac:spMkLst>
        </pc:spChg>
        <pc:spChg chg="add mod">
          <ac:chgData name="Andreas Tietze" userId="a3372cb8d9173b63" providerId="LiveId" clId="{A0F26B30-6F9A-4062-A1CA-058B33D7C232}" dt="2021-10-06T17:26:45.489" v="7376" actId="1076"/>
          <ac:spMkLst>
            <pc:docMk/>
            <pc:sldMk cId="4289346376" sldId="312"/>
            <ac:spMk id="21" creationId="{6A71D9E3-6905-44EE-A167-159DC838D8CE}"/>
          </ac:spMkLst>
        </pc:spChg>
        <pc:graphicFrameChg chg="add mod modGraphic">
          <ac:chgData name="Andreas Tietze" userId="a3372cb8d9173b63" providerId="LiveId" clId="{A0F26B30-6F9A-4062-A1CA-058B33D7C232}" dt="2021-10-06T17:27:00.631" v="7377"/>
          <ac:graphicFrameMkLst>
            <pc:docMk/>
            <pc:sldMk cId="4289346376" sldId="312"/>
            <ac:graphicFrameMk id="5" creationId="{4D07241F-16EC-44C1-AF9A-A3AF470DEB77}"/>
          </ac:graphicFrameMkLst>
        </pc:graphicFrameChg>
      </pc:sldChg>
      <pc:sldChg chg="addSp delSp modSp new mod ord">
        <pc:chgData name="Andreas Tietze" userId="a3372cb8d9173b63" providerId="LiveId" clId="{A0F26B30-6F9A-4062-A1CA-058B33D7C232}" dt="2021-10-06T17:44:36.852" v="7693" actId="14100"/>
        <pc:sldMkLst>
          <pc:docMk/>
          <pc:sldMk cId="584673464" sldId="313"/>
        </pc:sldMkLst>
        <pc:spChg chg="mod">
          <ac:chgData name="Andreas Tietze" userId="a3372cb8d9173b63" providerId="LiveId" clId="{A0F26B30-6F9A-4062-A1CA-058B33D7C232}" dt="2021-10-04T18:58:35.595" v="3567" actId="20577"/>
          <ac:spMkLst>
            <pc:docMk/>
            <pc:sldMk cId="584673464" sldId="313"/>
            <ac:spMk id="2" creationId="{B419333B-A3F7-4A25-AC2F-B362E8920E33}"/>
          </ac:spMkLst>
        </pc:spChg>
        <pc:spChg chg="del">
          <ac:chgData name="Andreas Tietze" userId="a3372cb8d9173b63" providerId="LiveId" clId="{A0F26B30-6F9A-4062-A1CA-058B33D7C232}" dt="2021-10-04T18:40:40.451" v="2449"/>
          <ac:spMkLst>
            <pc:docMk/>
            <pc:sldMk cId="584673464" sldId="313"/>
            <ac:spMk id="3" creationId="{B0C8AE52-40BE-4BE7-9BD7-3354A2E6F21E}"/>
          </ac:spMkLst>
        </pc:spChg>
        <pc:spChg chg="del">
          <ac:chgData name="Andreas Tietze" userId="a3372cb8d9173b63" providerId="LiveId" clId="{A0F26B30-6F9A-4062-A1CA-058B33D7C232}" dt="2021-10-04T18:40:49.090" v="2452" actId="478"/>
          <ac:spMkLst>
            <pc:docMk/>
            <pc:sldMk cId="584673464" sldId="313"/>
            <ac:spMk id="4" creationId="{AF4CA330-CA13-4998-A17D-2B0366086D68}"/>
          </ac:spMkLst>
        </pc:spChg>
        <pc:spChg chg="add mod">
          <ac:chgData name="Andreas Tietze" userId="a3372cb8d9173b63" providerId="LiveId" clId="{A0F26B30-6F9A-4062-A1CA-058B33D7C232}" dt="2021-10-06T17:44:36.852" v="7693" actId="14100"/>
          <ac:spMkLst>
            <pc:docMk/>
            <pc:sldMk cId="584673464" sldId="313"/>
            <ac:spMk id="7" creationId="{7A60D9F1-FFCC-441B-AE0B-450F34C18BCD}"/>
          </ac:spMkLst>
        </pc:spChg>
        <pc:spChg chg="add del mod">
          <ac:chgData name="Andreas Tietze" userId="a3372cb8d9173b63" providerId="LiveId" clId="{A0F26B30-6F9A-4062-A1CA-058B33D7C232}" dt="2021-10-04T18:49:41.922" v="3030" actId="478"/>
          <ac:spMkLst>
            <pc:docMk/>
            <pc:sldMk cId="584673464" sldId="313"/>
            <ac:spMk id="8" creationId="{B174EF4E-9741-485E-BE44-BF6BB4B49896}"/>
          </ac:spMkLst>
        </pc:spChg>
        <pc:picChg chg="add mod">
          <ac:chgData name="Andreas Tietze" userId="a3372cb8d9173b63" providerId="LiveId" clId="{A0F26B30-6F9A-4062-A1CA-058B33D7C232}" dt="2021-10-04T18:49:47.554" v="3032" actId="1076"/>
          <ac:picMkLst>
            <pc:docMk/>
            <pc:sldMk cId="584673464" sldId="313"/>
            <ac:picMk id="6" creationId="{7FC92B92-D145-46A1-B25C-3263A0502800}"/>
          </ac:picMkLst>
        </pc:picChg>
      </pc:sldChg>
      <pc:sldChg chg="addSp delSp modSp new del mod">
        <pc:chgData name="Andreas Tietze" userId="a3372cb8d9173b63" providerId="LiveId" clId="{A0F26B30-6F9A-4062-A1CA-058B33D7C232}" dt="2021-10-04T18:00:46.456" v="1207" actId="47"/>
        <pc:sldMkLst>
          <pc:docMk/>
          <pc:sldMk cId="3468507230" sldId="313"/>
        </pc:sldMkLst>
        <pc:spChg chg="mod">
          <ac:chgData name="Andreas Tietze" userId="a3372cb8d9173b63" providerId="LiveId" clId="{A0F26B30-6F9A-4062-A1CA-058B33D7C232}" dt="2021-10-04T17:53:11.720" v="1068" actId="20577"/>
          <ac:spMkLst>
            <pc:docMk/>
            <pc:sldMk cId="3468507230" sldId="313"/>
            <ac:spMk id="2" creationId="{ED663D11-F212-4FF2-9F33-209E9A7E0E7B}"/>
          </ac:spMkLst>
        </pc:spChg>
        <pc:spChg chg="del">
          <ac:chgData name="Andreas Tietze" userId="a3372cb8d9173b63" providerId="LiveId" clId="{A0F26B30-6F9A-4062-A1CA-058B33D7C232}" dt="2021-10-04T17:52:15.849" v="1031" actId="478"/>
          <ac:spMkLst>
            <pc:docMk/>
            <pc:sldMk cId="3468507230" sldId="313"/>
            <ac:spMk id="3" creationId="{C36083F8-73DD-4CE8-B3BC-C88437C9C568}"/>
          </ac:spMkLst>
        </pc:spChg>
        <pc:spChg chg="del">
          <ac:chgData name="Andreas Tietze" userId="a3372cb8d9173b63" providerId="LiveId" clId="{A0F26B30-6F9A-4062-A1CA-058B33D7C232}" dt="2021-10-04T17:52:16.759" v="1032" actId="478"/>
          <ac:spMkLst>
            <pc:docMk/>
            <pc:sldMk cId="3468507230" sldId="313"/>
            <ac:spMk id="4" creationId="{4785E645-0DBC-4020-A7F0-2111004335BB}"/>
          </ac:spMkLst>
        </pc:spChg>
        <pc:picChg chg="add del mod">
          <ac:chgData name="Andreas Tietze" userId="a3372cb8d9173b63" providerId="LiveId" clId="{A0F26B30-6F9A-4062-A1CA-058B33D7C232}" dt="2021-10-04T17:54:12.284" v="1103" actId="478"/>
          <ac:picMkLst>
            <pc:docMk/>
            <pc:sldMk cId="3468507230" sldId="313"/>
            <ac:picMk id="6" creationId="{10461BA8-F2B3-4409-8F1C-DEF23B17AE12}"/>
          </ac:picMkLst>
        </pc:picChg>
        <pc:picChg chg="add del mod">
          <ac:chgData name="Andreas Tietze" userId="a3372cb8d9173b63" providerId="LiveId" clId="{A0F26B30-6F9A-4062-A1CA-058B33D7C232}" dt="2021-10-04T17:54:12.632" v="1104" actId="478"/>
          <ac:picMkLst>
            <pc:docMk/>
            <pc:sldMk cId="3468507230" sldId="313"/>
            <ac:picMk id="8" creationId="{1700C843-E887-4654-A5FB-D3C3002CEB46}"/>
          </ac:picMkLst>
        </pc:picChg>
        <pc:picChg chg="add del mod">
          <ac:chgData name="Andreas Tietze" userId="a3372cb8d9173b63" providerId="LiveId" clId="{A0F26B30-6F9A-4062-A1CA-058B33D7C232}" dt="2021-10-04T17:52:35.725" v="1038" actId="478"/>
          <ac:picMkLst>
            <pc:docMk/>
            <pc:sldMk cId="3468507230" sldId="313"/>
            <ac:picMk id="9" creationId="{B3A4C3DF-0AB5-4366-B5FC-1833F1B967F1}"/>
          </ac:picMkLst>
        </pc:picChg>
        <pc:picChg chg="add del mod">
          <ac:chgData name="Andreas Tietze" userId="a3372cb8d9173b63" providerId="LiveId" clId="{A0F26B30-6F9A-4062-A1CA-058B33D7C232}" dt="2021-10-04T17:53:44.825" v="1080" actId="478"/>
          <ac:picMkLst>
            <pc:docMk/>
            <pc:sldMk cId="3468507230" sldId="313"/>
            <ac:picMk id="11" creationId="{280B7B16-A420-4165-AE2C-0F3C641A7251}"/>
          </ac:picMkLst>
        </pc:picChg>
        <pc:picChg chg="add del mod">
          <ac:chgData name="Andreas Tietze" userId="a3372cb8d9173b63" providerId="LiveId" clId="{A0F26B30-6F9A-4062-A1CA-058B33D7C232}" dt="2021-10-04T17:54:13.666" v="1107" actId="478"/>
          <ac:picMkLst>
            <pc:docMk/>
            <pc:sldMk cId="3468507230" sldId="313"/>
            <ac:picMk id="13" creationId="{7350BE0E-6876-4878-BD9D-C626E7A77B33}"/>
          </ac:picMkLst>
        </pc:picChg>
        <pc:picChg chg="add del mod">
          <ac:chgData name="Andreas Tietze" userId="a3372cb8d9173b63" providerId="LiveId" clId="{A0F26B30-6F9A-4062-A1CA-058B33D7C232}" dt="2021-10-04T17:54:14.352" v="1109" actId="478"/>
          <ac:picMkLst>
            <pc:docMk/>
            <pc:sldMk cId="3468507230" sldId="313"/>
            <ac:picMk id="15" creationId="{ADBA2AA9-19A0-4330-A9EB-989B4A23BD92}"/>
          </ac:picMkLst>
        </pc:picChg>
        <pc:picChg chg="add del mod">
          <ac:chgData name="Andreas Tietze" userId="a3372cb8d9173b63" providerId="LiveId" clId="{A0F26B30-6F9A-4062-A1CA-058B33D7C232}" dt="2021-10-04T17:54:13.287" v="1106" actId="478"/>
          <ac:picMkLst>
            <pc:docMk/>
            <pc:sldMk cId="3468507230" sldId="313"/>
            <ac:picMk id="17" creationId="{5FBD9349-293C-42A7-9625-7F40DB71E2E3}"/>
          </ac:picMkLst>
        </pc:picChg>
        <pc:picChg chg="add del mod">
          <ac:chgData name="Andreas Tietze" userId="a3372cb8d9173b63" providerId="LiveId" clId="{A0F26B30-6F9A-4062-A1CA-058B33D7C232}" dt="2021-10-04T17:54:14.020" v="1108" actId="478"/>
          <ac:picMkLst>
            <pc:docMk/>
            <pc:sldMk cId="3468507230" sldId="313"/>
            <ac:picMk id="19" creationId="{09098E21-D0FD-48A6-8BCA-EEF20F826260}"/>
          </ac:picMkLst>
        </pc:picChg>
        <pc:picChg chg="add del mod">
          <ac:chgData name="Andreas Tietze" userId="a3372cb8d9173b63" providerId="LiveId" clId="{A0F26B30-6F9A-4062-A1CA-058B33D7C232}" dt="2021-10-04T17:54:11.961" v="1102" actId="478"/>
          <ac:picMkLst>
            <pc:docMk/>
            <pc:sldMk cId="3468507230" sldId="313"/>
            <ac:picMk id="21" creationId="{3B5ABBA9-B570-4E5A-938D-F24298B5CCA6}"/>
          </ac:picMkLst>
        </pc:picChg>
        <pc:picChg chg="add del mod">
          <ac:chgData name="Andreas Tietze" userId="a3372cb8d9173b63" providerId="LiveId" clId="{A0F26B30-6F9A-4062-A1CA-058B33D7C232}" dt="2021-10-04T17:53:45.590" v="1082" actId="478"/>
          <ac:picMkLst>
            <pc:docMk/>
            <pc:sldMk cId="3468507230" sldId="313"/>
            <ac:picMk id="22" creationId="{6FD9A9CA-2454-4F6A-888E-2B965FF035F4}"/>
          </ac:picMkLst>
        </pc:picChg>
        <pc:picChg chg="add del mod">
          <ac:chgData name="Andreas Tietze" userId="a3372cb8d9173b63" providerId="LiveId" clId="{A0F26B30-6F9A-4062-A1CA-058B33D7C232}" dt="2021-10-04T17:53:46.245" v="1083" actId="478"/>
          <ac:picMkLst>
            <pc:docMk/>
            <pc:sldMk cId="3468507230" sldId="313"/>
            <ac:picMk id="23" creationId="{96158B05-6777-4A83-BFDD-7446615F4E43}"/>
          </ac:picMkLst>
        </pc:picChg>
        <pc:picChg chg="add del mod">
          <ac:chgData name="Andreas Tietze" userId="a3372cb8d9173b63" providerId="LiveId" clId="{A0F26B30-6F9A-4062-A1CA-058B33D7C232}" dt="2021-10-04T17:54:12.948" v="1105" actId="478"/>
          <ac:picMkLst>
            <pc:docMk/>
            <pc:sldMk cId="3468507230" sldId="313"/>
            <ac:picMk id="24" creationId="{9BF7E1DA-9FCD-40A9-92F5-3D8E5449AF7E}"/>
          </ac:picMkLst>
        </pc:picChg>
        <pc:picChg chg="add del mod">
          <ac:chgData name="Andreas Tietze" userId="a3372cb8d9173b63" providerId="LiveId" clId="{A0F26B30-6F9A-4062-A1CA-058B33D7C232}" dt="2021-10-04T17:53:47.294" v="1085" actId="478"/>
          <ac:picMkLst>
            <pc:docMk/>
            <pc:sldMk cId="3468507230" sldId="313"/>
            <ac:picMk id="25" creationId="{BE79772F-273B-48DE-93F4-2344D7B8680E}"/>
          </ac:picMkLst>
        </pc:picChg>
        <pc:picChg chg="add del mod">
          <ac:chgData name="Andreas Tietze" userId="a3372cb8d9173b63" providerId="LiveId" clId="{A0F26B30-6F9A-4062-A1CA-058B33D7C232}" dt="2021-10-04T17:53:46.931" v="1084" actId="478"/>
          <ac:picMkLst>
            <pc:docMk/>
            <pc:sldMk cId="3468507230" sldId="313"/>
            <ac:picMk id="26" creationId="{3396404E-29D1-4FD8-8B69-D2A15DCFD5D7}"/>
          </ac:picMkLst>
        </pc:picChg>
        <pc:picChg chg="add mod modCrop">
          <ac:chgData name="Andreas Tietze" userId="a3372cb8d9173b63" providerId="LiveId" clId="{A0F26B30-6F9A-4062-A1CA-058B33D7C232}" dt="2021-10-04T17:56:11.211" v="1117" actId="1076"/>
          <ac:picMkLst>
            <pc:docMk/>
            <pc:sldMk cId="3468507230" sldId="313"/>
            <ac:picMk id="28" creationId="{A5E8E421-8A91-45DB-9828-178A999AC13E}"/>
          </ac:picMkLst>
        </pc:picChg>
      </pc:sldChg>
      <pc:sldChg chg="addSp delSp modSp new del mod">
        <pc:chgData name="Andreas Tietze" userId="a3372cb8d9173b63" providerId="LiveId" clId="{A0F26B30-6F9A-4062-A1CA-058B33D7C232}" dt="2021-10-04T18:40:00.320" v="2448" actId="47"/>
        <pc:sldMkLst>
          <pc:docMk/>
          <pc:sldMk cId="74614377" sldId="314"/>
        </pc:sldMkLst>
        <pc:spChg chg="mod">
          <ac:chgData name="Andreas Tietze" userId="a3372cb8d9173b63" providerId="LiveId" clId="{A0F26B30-6F9A-4062-A1CA-058B33D7C232}" dt="2021-10-04T18:19:41.251" v="1581" actId="20577"/>
          <ac:spMkLst>
            <pc:docMk/>
            <pc:sldMk cId="74614377" sldId="314"/>
            <ac:spMk id="2" creationId="{7D401434-A76E-419E-9715-9F83EAEABB49}"/>
          </ac:spMkLst>
        </pc:spChg>
        <pc:spChg chg="mod">
          <ac:chgData name="Andreas Tietze" userId="a3372cb8d9173b63" providerId="LiveId" clId="{A0F26B30-6F9A-4062-A1CA-058B33D7C232}" dt="2021-10-04T18:39:40.604" v="2446" actId="20577"/>
          <ac:spMkLst>
            <pc:docMk/>
            <pc:sldMk cId="74614377" sldId="314"/>
            <ac:spMk id="3" creationId="{D23EF827-7160-40D2-B845-CE5AF31192AB}"/>
          </ac:spMkLst>
        </pc:spChg>
        <pc:picChg chg="add del mod">
          <ac:chgData name="Andreas Tietze" userId="a3372cb8d9173b63" providerId="LiveId" clId="{A0F26B30-6F9A-4062-A1CA-058B33D7C232}" dt="2021-10-04T18:39:56.109" v="2447" actId="21"/>
          <ac:picMkLst>
            <pc:docMk/>
            <pc:sldMk cId="74614377" sldId="314"/>
            <ac:picMk id="5" creationId="{3CD5AF2F-0EA0-4A8A-A64F-F92F965C0DA7}"/>
          </ac:picMkLst>
        </pc:picChg>
      </pc:sldChg>
      <pc:sldChg chg="addSp delSp modSp new mod">
        <pc:chgData name="Andreas Tietze" userId="a3372cb8d9173b63" providerId="LiveId" clId="{A0F26B30-6F9A-4062-A1CA-058B33D7C232}" dt="2021-10-04T19:09:52.503" v="4115" actId="1076"/>
        <pc:sldMkLst>
          <pc:docMk/>
          <pc:sldMk cId="2775341318" sldId="315"/>
        </pc:sldMkLst>
        <pc:spChg chg="mod">
          <ac:chgData name="Andreas Tietze" userId="a3372cb8d9173b63" providerId="LiveId" clId="{A0F26B30-6F9A-4062-A1CA-058B33D7C232}" dt="2021-10-04T18:19:54.132" v="1604" actId="20577"/>
          <ac:spMkLst>
            <pc:docMk/>
            <pc:sldMk cId="2775341318" sldId="315"/>
            <ac:spMk id="2" creationId="{8570A596-1846-44B0-A59A-6B20EDDA05C2}"/>
          </ac:spMkLst>
        </pc:spChg>
        <pc:spChg chg="mod">
          <ac:chgData name="Andreas Tietze" userId="a3372cb8d9173b63" providerId="LiveId" clId="{A0F26B30-6F9A-4062-A1CA-058B33D7C232}" dt="2021-10-04T18:34:21.642" v="2284" actId="20577"/>
          <ac:spMkLst>
            <pc:docMk/>
            <pc:sldMk cId="2775341318" sldId="315"/>
            <ac:spMk id="3" creationId="{11F87AC9-DDC0-4EAB-B31B-0ED1FB9F31E6}"/>
          </ac:spMkLst>
        </pc:spChg>
        <pc:spChg chg="del">
          <ac:chgData name="Andreas Tietze" userId="a3372cb8d9173b63" providerId="LiveId" clId="{A0F26B30-6F9A-4062-A1CA-058B33D7C232}" dt="2021-10-04T18:27:43.842" v="1820" actId="478"/>
          <ac:spMkLst>
            <pc:docMk/>
            <pc:sldMk cId="2775341318" sldId="315"/>
            <ac:spMk id="4" creationId="{8E8CE8F5-F290-4F69-A457-6B6D0F96EFB1}"/>
          </ac:spMkLst>
        </pc:spChg>
        <pc:spChg chg="add mod">
          <ac:chgData name="Andreas Tietze" userId="a3372cb8d9173b63" providerId="LiveId" clId="{A0F26B30-6F9A-4062-A1CA-058B33D7C232}" dt="2021-10-04T19:09:52.503" v="4115" actId="1076"/>
          <ac:spMkLst>
            <pc:docMk/>
            <pc:sldMk cId="2775341318" sldId="315"/>
            <ac:spMk id="5" creationId="{FD5F1763-4D9C-4731-B1A6-7E7AABDC6B73}"/>
          </ac:spMkLst>
        </pc:spChg>
      </pc:sldChg>
      <pc:sldChg chg="modSp new del mod">
        <pc:chgData name="Andreas Tietze" userId="a3372cb8d9173b63" providerId="LiveId" clId="{A0F26B30-6F9A-4062-A1CA-058B33D7C232}" dt="2021-10-04T18:27:22.825" v="1818" actId="47"/>
        <pc:sldMkLst>
          <pc:docMk/>
          <pc:sldMk cId="1382638194" sldId="316"/>
        </pc:sldMkLst>
        <pc:spChg chg="mod">
          <ac:chgData name="Andreas Tietze" userId="a3372cb8d9173b63" providerId="LiveId" clId="{A0F26B30-6F9A-4062-A1CA-058B33D7C232}" dt="2021-10-04T18:20:00.787" v="1621" actId="20577"/>
          <ac:spMkLst>
            <pc:docMk/>
            <pc:sldMk cId="1382638194" sldId="316"/>
            <ac:spMk id="2" creationId="{F95043B2-A45D-456A-B7B5-E27338D8FC15}"/>
          </ac:spMkLst>
        </pc:spChg>
      </pc:sldChg>
      <pc:sldChg chg="addSp delSp modSp add mod ord modAnim">
        <pc:chgData name="Andreas Tietze" userId="a3372cb8d9173b63" providerId="LiveId" clId="{A0F26B30-6F9A-4062-A1CA-058B33D7C232}" dt="2021-10-06T17:47:40.961" v="7712" actId="14100"/>
        <pc:sldMkLst>
          <pc:docMk/>
          <pc:sldMk cId="2327487470" sldId="316"/>
        </pc:sldMkLst>
        <pc:spChg chg="mod">
          <ac:chgData name="Andreas Tietze" userId="a3372cb8d9173b63" providerId="LiveId" clId="{A0F26B30-6F9A-4062-A1CA-058B33D7C232}" dt="2021-10-04T18:50:16.795" v="3053" actId="20577"/>
          <ac:spMkLst>
            <pc:docMk/>
            <pc:sldMk cId="2327487470" sldId="316"/>
            <ac:spMk id="2" creationId="{B419333B-A3F7-4A25-AC2F-B362E8920E33}"/>
          </ac:spMkLst>
        </pc:spChg>
        <pc:spChg chg="add del mod">
          <ac:chgData name="Andreas Tietze" userId="a3372cb8d9173b63" providerId="LiveId" clId="{A0F26B30-6F9A-4062-A1CA-058B33D7C232}" dt="2021-10-04T18:50:09.945" v="3035" actId="478"/>
          <ac:spMkLst>
            <pc:docMk/>
            <pc:sldMk cId="2327487470" sldId="316"/>
            <ac:spMk id="4" creationId="{2B740B71-A6DB-4C5F-8B53-F342B779FE13}"/>
          </ac:spMkLst>
        </pc:spChg>
        <pc:spChg chg="del">
          <ac:chgData name="Andreas Tietze" userId="a3372cb8d9173b63" providerId="LiveId" clId="{A0F26B30-6F9A-4062-A1CA-058B33D7C232}" dt="2021-10-04T18:49:36.571" v="3027" actId="478"/>
          <ac:spMkLst>
            <pc:docMk/>
            <pc:sldMk cId="2327487470" sldId="316"/>
            <ac:spMk id="7" creationId="{7A60D9F1-FFCC-441B-AE0B-450F34C18BCD}"/>
          </ac:spMkLst>
        </pc:spChg>
        <pc:spChg chg="mod">
          <ac:chgData name="Andreas Tietze" userId="a3372cb8d9173b63" providerId="LiveId" clId="{A0F26B30-6F9A-4062-A1CA-058B33D7C232}" dt="2021-10-06T17:47:40.961" v="7712" actId="14100"/>
          <ac:spMkLst>
            <pc:docMk/>
            <pc:sldMk cId="2327487470" sldId="316"/>
            <ac:spMk id="8" creationId="{B174EF4E-9741-485E-BE44-BF6BB4B49896}"/>
          </ac:spMkLst>
        </pc:spChg>
        <pc:spChg chg="add mod">
          <ac:chgData name="Andreas Tietze" userId="a3372cb8d9173b63" providerId="LiveId" clId="{A0F26B30-6F9A-4062-A1CA-058B33D7C232}" dt="2021-10-06T17:47:24.888" v="7711" actId="20577"/>
          <ac:spMkLst>
            <pc:docMk/>
            <pc:sldMk cId="2327487470" sldId="316"/>
            <ac:spMk id="9" creationId="{3975B559-9626-4602-BB85-E46CE27911F4}"/>
          </ac:spMkLst>
        </pc:spChg>
        <pc:picChg chg="del">
          <ac:chgData name="Andreas Tietze" userId="a3372cb8d9173b63" providerId="LiveId" clId="{A0F26B30-6F9A-4062-A1CA-058B33D7C232}" dt="2021-10-04T18:49:39.895" v="3029" actId="478"/>
          <ac:picMkLst>
            <pc:docMk/>
            <pc:sldMk cId="2327487470" sldId="316"/>
            <ac:picMk id="6" creationId="{7FC92B92-D145-46A1-B25C-3263A0502800}"/>
          </ac:picMkLst>
        </pc:picChg>
      </pc:sldChg>
      <pc:sldChg chg="add del">
        <pc:chgData name="Andreas Tietze" userId="a3372cb8d9173b63" providerId="LiveId" clId="{A0F26B30-6F9A-4062-A1CA-058B33D7C232}" dt="2021-10-04T18:20:23.067" v="1628"/>
        <pc:sldMkLst>
          <pc:docMk/>
          <pc:sldMk cId="3622133560" sldId="317"/>
        </pc:sldMkLst>
      </pc:sldChg>
      <pc:sldChg chg="addSp delSp modSp new mod ord">
        <pc:chgData name="Andreas Tietze" userId="a3372cb8d9173b63" providerId="LiveId" clId="{A0F26B30-6F9A-4062-A1CA-058B33D7C232}" dt="2021-10-05T17:34:09.085" v="5242" actId="5793"/>
        <pc:sldMkLst>
          <pc:docMk/>
          <pc:sldMk cId="4227673803" sldId="317"/>
        </pc:sldMkLst>
        <pc:spChg chg="mod">
          <ac:chgData name="Andreas Tietze" userId="a3372cb8d9173b63" providerId="LiveId" clId="{A0F26B30-6F9A-4062-A1CA-058B33D7C232}" dt="2021-10-04T19:22:44.988" v="4700" actId="20577"/>
          <ac:spMkLst>
            <pc:docMk/>
            <pc:sldMk cId="4227673803" sldId="317"/>
            <ac:spMk id="2" creationId="{1B1ABE2E-DDFA-4AF9-B8A8-5A4CB7955F97}"/>
          </ac:spMkLst>
        </pc:spChg>
        <pc:spChg chg="mod">
          <ac:chgData name="Andreas Tietze" userId="a3372cb8d9173b63" providerId="LiveId" clId="{A0F26B30-6F9A-4062-A1CA-058B33D7C232}" dt="2021-10-05T17:34:09.085" v="5242" actId="5793"/>
          <ac:spMkLst>
            <pc:docMk/>
            <pc:sldMk cId="4227673803" sldId="317"/>
            <ac:spMk id="3" creationId="{C6D6CD0E-5218-4E38-BB84-1E974EB220B5}"/>
          </ac:spMkLst>
        </pc:spChg>
        <pc:spChg chg="del">
          <ac:chgData name="Andreas Tietze" userId="a3372cb8d9173b63" providerId="LiveId" clId="{A0F26B30-6F9A-4062-A1CA-058B33D7C232}" dt="2021-10-04T19:16:09.676" v="4278" actId="478"/>
          <ac:spMkLst>
            <pc:docMk/>
            <pc:sldMk cId="4227673803" sldId="317"/>
            <ac:spMk id="4" creationId="{24549488-B144-4AC2-AEC0-CB679D1FE020}"/>
          </ac:spMkLst>
        </pc:spChg>
        <pc:spChg chg="add del mod">
          <ac:chgData name="Andreas Tietze" userId="a3372cb8d9173b63" providerId="LiveId" clId="{A0F26B30-6F9A-4062-A1CA-058B33D7C232}" dt="2021-10-05T17:26:16.475" v="4842" actId="478"/>
          <ac:spMkLst>
            <pc:docMk/>
            <pc:sldMk cId="4227673803" sldId="317"/>
            <ac:spMk id="5" creationId="{7E18DCB5-2ECC-41BA-B0A3-6B3EF47A61C5}"/>
          </ac:spMkLst>
        </pc:spChg>
      </pc:sldChg>
      <pc:sldChg chg="modSp add mod">
        <pc:chgData name="Andreas Tietze" userId="a3372cb8d9173b63" providerId="LiveId" clId="{A0F26B30-6F9A-4062-A1CA-058B33D7C232}" dt="2021-10-05T19:52:54.392" v="6174" actId="20577"/>
        <pc:sldMkLst>
          <pc:docMk/>
          <pc:sldMk cId="100439550" sldId="318"/>
        </pc:sldMkLst>
        <pc:spChg chg="mod">
          <ac:chgData name="Andreas Tietze" userId="a3372cb8d9173b63" providerId="LiveId" clId="{A0F26B30-6F9A-4062-A1CA-058B33D7C232}" dt="2021-10-04T19:22:39.643" v="4685" actId="6549"/>
          <ac:spMkLst>
            <pc:docMk/>
            <pc:sldMk cId="100439550" sldId="318"/>
            <ac:spMk id="2" creationId="{1B1ABE2E-DDFA-4AF9-B8A8-5A4CB7955F97}"/>
          </ac:spMkLst>
        </pc:spChg>
        <pc:spChg chg="mod">
          <ac:chgData name="Andreas Tietze" userId="a3372cb8d9173b63" providerId="LiveId" clId="{A0F26B30-6F9A-4062-A1CA-058B33D7C232}" dt="2021-10-05T17:24:40.749" v="4840" actId="20577"/>
          <ac:spMkLst>
            <pc:docMk/>
            <pc:sldMk cId="100439550" sldId="318"/>
            <ac:spMk id="3" creationId="{C6D6CD0E-5218-4E38-BB84-1E974EB220B5}"/>
          </ac:spMkLst>
        </pc:spChg>
        <pc:spChg chg="mod">
          <ac:chgData name="Andreas Tietze" userId="a3372cb8d9173b63" providerId="LiveId" clId="{A0F26B30-6F9A-4062-A1CA-058B33D7C232}" dt="2021-10-05T19:52:54.392" v="6174" actId="20577"/>
          <ac:spMkLst>
            <pc:docMk/>
            <pc:sldMk cId="100439550" sldId="318"/>
            <ac:spMk id="5" creationId="{7E18DCB5-2ECC-41BA-B0A3-6B3EF47A61C5}"/>
          </ac:spMkLst>
        </pc:spChg>
      </pc:sldChg>
      <pc:sldChg chg="addSp delSp modSp add mod ord">
        <pc:chgData name="Andreas Tietze" userId="a3372cb8d9173b63" providerId="LiveId" clId="{A0F26B30-6F9A-4062-A1CA-058B33D7C232}" dt="2021-10-06T17:41:33.473" v="7691" actId="404"/>
        <pc:sldMkLst>
          <pc:docMk/>
          <pc:sldMk cId="2980475" sldId="319"/>
        </pc:sldMkLst>
        <pc:spChg chg="del">
          <ac:chgData name="Andreas Tietze" userId="a3372cb8d9173b63" providerId="LiveId" clId="{A0F26B30-6F9A-4062-A1CA-058B33D7C232}" dt="2021-10-05T17:47:11.483" v="5644" actId="478"/>
          <ac:spMkLst>
            <pc:docMk/>
            <pc:sldMk cId="2980475" sldId="319"/>
            <ac:spMk id="3" creationId="{D0159109-2091-436E-8D8B-E6F696BAFBC1}"/>
          </ac:spMkLst>
        </pc:spChg>
        <pc:spChg chg="add del mod">
          <ac:chgData name="Andreas Tietze" userId="a3372cb8d9173b63" providerId="LiveId" clId="{A0F26B30-6F9A-4062-A1CA-058B33D7C232}" dt="2021-10-05T17:47:12.903" v="5645" actId="478"/>
          <ac:spMkLst>
            <pc:docMk/>
            <pc:sldMk cId="2980475" sldId="319"/>
            <ac:spMk id="4" creationId="{E26FB9C8-9B11-48A4-BACB-FD5983578E3B}"/>
          </ac:spMkLst>
        </pc:spChg>
        <pc:spChg chg="mod">
          <ac:chgData name="Andreas Tietze" userId="a3372cb8d9173b63" providerId="LiveId" clId="{A0F26B30-6F9A-4062-A1CA-058B33D7C232}" dt="2021-10-06T17:41:33.473" v="7691" actId="404"/>
          <ac:spMkLst>
            <pc:docMk/>
            <pc:sldMk cId="2980475" sldId="319"/>
            <ac:spMk id="5" creationId="{41B97E08-B60F-1F43-84B4-8CFD2D4A4AAB}"/>
          </ac:spMkLst>
        </pc:spChg>
        <pc:spChg chg="add mod">
          <ac:chgData name="Andreas Tietze" userId="a3372cb8d9173b63" providerId="LiveId" clId="{A0F26B30-6F9A-4062-A1CA-058B33D7C232}" dt="2021-10-05T17:53:32.669" v="5883" actId="14100"/>
          <ac:spMkLst>
            <pc:docMk/>
            <pc:sldMk cId="2980475" sldId="319"/>
            <ac:spMk id="11" creationId="{7876ACD2-222C-4936-AA0C-ACF96B84ED55}"/>
          </ac:spMkLst>
        </pc:spChg>
        <pc:spChg chg="add mod">
          <ac:chgData name="Andreas Tietze" userId="a3372cb8d9173b63" providerId="LiveId" clId="{A0F26B30-6F9A-4062-A1CA-058B33D7C232}" dt="2021-10-05T17:55:10.966" v="6062" actId="1035"/>
          <ac:spMkLst>
            <pc:docMk/>
            <pc:sldMk cId="2980475" sldId="319"/>
            <ac:spMk id="12" creationId="{AF758770-8BA8-4C5F-9FAF-8A07B6849C43}"/>
          </ac:spMkLst>
        </pc:spChg>
        <pc:spChg chg="add mod">
          <ac:chgData name="Andreas Tietze" userId="a3372cb8d9173b63" providerId="LiveId" clId="{A0F26B30-6F9A-4062-A1CA-058B33D7C232}" dt="2021-10-05T17:55:05.535" v="6051" actId="1035"/>
          <ac:spMkLst>
            <pc:docMk/>
            <pc:sldMk cId="2980475" sldId="319"/>
            <ac:spMk id="13" creationId="{AA3313EE-C14C-46EF-AE57-CF05704EED68}"/>
          </ac:spMkLst>
        </pc:spChg>
        <pc:spChg chg="add mod">
          <ac:chgData name="Andreas Tietze" userId="a3372cb8d9173b63" providerId="LiveId" clId="{A0F26B30-6F9A-4062-A1CA-058B33D7C232}" dt="2021-10-05T17:54:45.381" v="6035" actId="1076"/>
          <ac:spMkLst>
            <pc:docMk/>
            <pc:sldMk cId="2980475" sldId="319"/>
            <ac:spMk id="14" creationId="{4020E899-D05F-429D-8212-E53C6268A2A2}"/>
          </ac:spMkLst>
        </pc:spChg>
        <pc:grpChg chg="add mod">
          <ac:chgData name="Andreas Tietze" userId="a3372cb8d9173b63" providerId="LiveId" clId="{A0F26B30-6F9A-4062-A1CA-058B33D7C232}" dt="2021-10-05T17:55:22.520" v="6068" actId="1076"/>
          <ac:grpSpMkLst>
            <pc:docMk/>
            <pc:sldMk cId="2980475" sldId="319"/>
            <ac:grpSpMk id="6" creationId="{DCA69679-8301-4933-BF16-E97B28920DCF}"/>
          </ac:grpSpMkLst>
        </pc:grpChg>
        <pc:picChg chg="add del mod">
          <ac:chgData name="Andreas Tietze" userId="a3372cb8d9173b63" providerId="LiveId" clId="{A0F26B30-6F9A-4062-A1CA-058B33D7C232}" dt="2021-10-05T17:50:03.285" v="5695" actId="478"/>
          <ac:picMkLst>
            <pc:docMk/>
            <pc:sldMk cId="2980475" sldId="319"/>
            <ac:picMk id="7" creationId="{B714A904-BA8A-4061-9807-669EEABFCE70}"/>
          </ac:picMkLst>
        </pc:picChg>
        <pc:picChg chg="add mod ord modCrop">
          <ac:chgData name="Andreas Tietze" userId="a3372cb8d9173b63" providerId="LiveId" clId="{A0F26B30-6F9A-4062-A1CA-058B33D7C232}" dt="2021-10-05T17:52:42.487" v="5709" actId="164"/>
          <ac:picMkLst>
            <pc:docMk/>
            <pc:sldMk cId="2980475" sldId="319"/>
            <ac:picMk id="8" creationId="{A696522F-7FEA-4F47-AEB1-95E2C37CAEFD}"/>
          </ac:picMkLst>
        </pc:picChg>
        <pc:picChg chg="del mod">
          <ac:chgData name="Andreas Tietze" userId="a3372cb8d9173b63" providerId="LiveId" clId="{A0F26B30-6F9A-4062-A1CA-058B33D7C232}" dt="2021-10-05T17:55:26.931" v="6069" actId="478"/>
          <ac:picMkLst>
            <pc:docMk/>
            <pc:sldMk cId="2980475" sldId="319"/>
            <ac:picMk id="9" creationId="{F600D5AA-FFCE-4BA6-BE86-F9EE1CEB0252}"/>
          </ac:picMkLst>
        </pc:picChg>
        <pc:picChg chg="add mod modCrop">
          <ac:chgData name="Andreas Tietze" userId="a3372cb8d9173b63" providerId="LiveId" clId="{A0F26B30-6F9A-4062-A1CA-058B33D7C232}" dt="2021-10-05T17:52:42.487" v="5709" actId="164"/>
          <ac:picMkLst>
            <pc:docMk/>
            <pc:sldMk cId="2980475" sldId="319"/>
            <ac:picMk id="10" creationId="{C92EAF26-B81C-4BB2-898B-D1717B7B5074}"/>
          </ac:picMkLst>
        </pc:picChg>
      </pc:sldChg>
      <pc:sldChg chg="add del">
        <pc:chgData name="Andreas Tietze" userId="a3372cb8d9173b63" providerId="LiveId" clId="{A0F26B30-6F9A-4062-A1CA-058B33D7C232}" dt="2021-10-05T17:36:47.471" v="5294"/>
        <pc:sldMkLst>
          <pc:docMk/>
          <pc:sldMk cId="113435602" sldId="319"/>
        </pc:sldMkLst>
      </pc:sldChg>
      <pc:sldChg chg="addSp delSp modSp add mod delAnim modAnim">
        <pc:chgData name="Andreas Tietze" userId="a3372cb8d9173b63" providerId="LiveId" clId="{A0F26B30-6F9A-4062-A1CA-058B33D7C232}" dt="2021-10-06T17:35:17.502" v="7595" actId="1035"/>
        <pc:sldMkLst>
          <pc:docMk/>
          <pc:sldMk cId="2585280362" sldId="320"/>
        </pc:sldMkLst>
        <pc:spChg chg="add del mod">
          <ac:chgData name="Andreas Tietze" userId="a3372cb8d9173b63" providerId="LiveId" clId="{A0F26B30-6F9A-4062-A1CA-058B33D7C232}" dt="2021-10-06T17:25:23.422" v="7371" actId="478"/>
          <ac:spMkLst>
            <pc:docMk/>
            <pc:sldMk cId="2585280362" sldId="320"/>
            <ac:spMk id="3" creationId="{85BFC195-6456-41C3-86DE-52F95CECA284}"/>
          </ac:spMkLst>
        </pc:spChg>
        <pc:spChg chg="add mod">
          <ac:chgData name="Andreas Tietze" userId="a3372cb8d9173b63" providerId="LiveId" clId="{A0F26B30-6F9A-4062-A1CA-058B33D7C232}" dt="2021-10-06T17:35:05.310" v="7576" actId="1035"/>
          <ac:spMkLst>
            <pc:docMk/>
            <pc:sldMk cId="2585280362" sldId="320"/>
            <ac:spMk id="5" creationId="{8BEEE2FA-2214-4CB8-9452-8EB40D6AC1F8}"/>
          </ac:spMkLst>
        </pc:spChg>
        <pc:spChg chg="add mod">
          <ac:chgData name="Andreas Tietze" userId="a3372cb8d9173b63" providerId="LiveId" clId="{A0F26B30-6F9A-4062-A1CA-058B33D7C232}" dt="2021-10-06T17:35:17.502" v="7595" actId="1035"/>
          <ac:spMkLst>
            <pc:docMk/>
            <pc:sldMk cId="2585280362" sldId="320"/>
            <ac:spMk id="7" creationId="{976BBDA1-4A80-4FAB-9A44-CBBB59CBB78D}"/>
          </ac:spMkLst>
        </pc:spChg>
        <pc:spChg chg="mod">
          <ac:chgData name="Andreas Tietze" userId="a3372cb8d9173b63" providerId="LiveId" clId="{A0F26B30-6F9A-4062-A1CA-058B33D7C232}" dt="2021-10-06T17:31:48.835" v="7491" actId="20577"/>
          <ac:spMkLst>
            <pc:docMk/>
            <pc:sldMk cId="2585280362" sldId="320"/>
            <ac:spMk id="33" creationId="{7291FC5C-39B5-4686-B2FC-CD79C54EEA66}"/>
          </ac:spMkLst>
        </pc:spChg>
        <pc:spChg chg="del">
          <ac:chgData name="Andreas Tietze" userId="a3372cb8d9173b63" providerId="LiveId" clId="{A0F26B30-6F9A-4062-A1CA-058B33D7C232}" dt="2021-10-05T19:49:29.965" v="6166" actId="478"/>
          <ac:spMkLst>
            <pc:docMk/>
            <pc:sldMk cId="2585280362" sldId="320"/>
            <ac:spMk id="34" creationId="{7218BFC3-A1A0-4575-ABBA-4AF25D6A0047}"/>
          </ac:spMkLst>
        </pc:spChg>
        <pc:spChg chg="del">
          <ac:chgData name="Andreas Tietze" userId="a3372cb8d9173b63" providerId="LiveId" clId="{A0F26B30-6F9A-4062-A1CA-058B33D7C232}" dt="2021-10-05T19:49:32.624" v="6167" actId="478"/>
          <ac:spMkLst>
            <pc:docMk/>
            <pc:sldMk cId="2585280362" sldId="320"/>
            <ac:spMk id="36" creationId="{8125AD87-D1A1-4101-8A4E-CFBD891C8F5B}"/>
          </ac:spMkLst>
        </pc:spChg>
        <pc:grpChg chg="del">
          <ac:chgData name="Andreas Tietze" userId="a3372cb8d9173b63" providerId="LiveId" clId="{A0F26B30-6F9A-4062-A1CA-058B33D7C232}" dt="2021-10-05T19:49:28.463" v="6164" actId="478"/>
          <ac:grpSpMkLst>
            <pc:docMk/>
            <pc:sldMk cId="2585280362" sldId="320"/>
            <ac:grpSpMk id="4" creationId="{BB281E81-9C19-4FF8-B52D-9E9385BEE96A}"/>
          </ac:grpSpMkLst>
        </pc:grpChg>
        <pc:grpChg chg="del">
          <ac:chgData name="Andreas Tietze" userId="a3372cb8d9173b63" providerId="LiveId" clId="{A0F26B30-6F9A-4062-A1CA-058B33D7C232}" dt="2021-10-05T19:49:28.854" v="6165" actId="478"/>
          <ac:grpSpMkLst>
            <pc:docMk/>
            <pc:sldMk cId="2585280362" sldId="320"/>
            <ac:grpSpMk id="47" creationId="{688FC8CE-6D58-4AD5-BAE1-DD03CBC9A115}"/>
          </ac:grpSpMkLst>
        </pc:gr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C4C968-FC49-4CD3-8708-BCC22304F08E}" type="doc">
      <dgm:prSet loTypeId="urn:microsoft.com/office/officeart/2005/8/layout/arrow2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ABD4376-6B71-4DB2-963C-CA423D2139E1}">
      <dgm:prSet phldrT="[Text]" custT="1"/>
      <dgm:spPr/>
      <dgm:t>
        <a:bodyPr/>
        <a:lstStyle/>
        <a:p>
          <a:pPr algn="ctr"/>
          <a:r>
            <a:rPr lang="de-DE" sz="2000" b="0" dirty="0">
              <a:solidFill>
                <a:schemeClr val="bg1"/>
              </a:solidFill>
              <a:latin typeface="Quicksand" pitchFamily="2" charset="0"/>
            </a:rPr>
            <a:t>Südkorea</a:t>
          </a:r>
        </a:p>
        <a:p>
          <a:pPr algn="ctr"/>
          <a:r>
            <a:rPr lang="de-DE" sz="2000" b="1" dirty="0">
              <a:latin typeface="Quicksand" pitchFamily="2" charset="0"/>
            </a:rPr>
            <a:t>Akklimatisierungstage</a:t>
          </a:r>
        </a:p>
        <a:p>
          <a:pPr algn="ctr"/>
          <a:r>
            <a:rPr lang="de-DE" sz="2000" b="1" dirty="0">
              <a:latin typeface="Quicksand" pitchFamily="2" charset="0"/>
            </a:rPr>
            <a:t>Jamboree</a:t>
          </a:r>
        </a:p>
        <a:p>
          <a:pPr algn="ctr"/>
          <a:r>
            <a:rPr lang="de-DE" sz="2000" b="0" dirty="0">
              <a:solidFill>
                <a:schemeClr val="bg1"/>
              </a:solidFill>
              <a:latin typeface="Quicksand" pitchFamily="2" charset="0"/>
            </a:rPr>
            <a:t>29. Juli - 12. August</a:t>
          </a:r>
        </a:p>
        <a:p>
          <a:pPr algn="ctr"/>
          <a:r>
            <a:rPr lang="de-DE" sz="2000" b="1" dirty="0">
              <a:latin typeface="Quicksand" pitchFamily="2" charset="0"/>
            </a:rPr>
            <a:t>Vor/</a:t>
          </a:r>
          <a:r>
            <a:rPr lang="de-DE" sz="2000" b="1" dirty="0" err="1">
              <a:latin typeface="Quicksand" pitchFamily="2" charset="0"/>
            </a:rPr>
            <a:t>Nachtour</a:t>
          </a:r>
          <a:endParaRPr lang="de-DE" sz="2000" b="1" dirty="0">
            <a:latin typeface="Quicksand" pitchFamily="2" charset="0"/>
          </a:endParaRPr>
        </a:p>
        <a:p>
          <a:pPr algn="ctr"/>
          <a:r>
            <a:rPr lang="de-DE" sz="2000" b="1" dirty="0" err="1">
              <a:latin typeface="Quicksand" pitchFamily="2" charset="0"/>
            </a:rPr>
            <a:t>HoHo</a:t>
          </a:r>
          <a:endParaRPr lang="de-DE" sz="2000" b="1" dirty="0">
            <a:latin typeface="Quicksand" pitchFamily="2" charset="0"/>
          </a:endParaRPr>
        </a:p>
        <a:p>
          <a:pPr algn="ctr"/>
          <a:r>
            <a:rPr lang="de-DE" sz="2000" b="0" dirty="0">
              <a:solidFill>
                <a:schemeClr val="bg1"/>
              </a:solidFill>
              <a:latin typeface="Quicksand" pitchFamily="2" charset="0"/>
            </a:rPr>
            <a:t>± ca. 9 Tage</a:t>
          </a:r>
        </a:p>
      </dgm:t>
    </dgm:pt>
    <dgm:pt modelId="{0FD01EC6-5D66-4467-9F73-519B73033E2E}" type="sibTrans" cxnId="{9BB8E6A2-4D85-4458-80C0-AE09C3456F5D}">
      <dgm:prSet/>
      <dgm:spPr/>
      <dgm:t>
        <a:bodyPr/>
        <a:lstStyle/>
        <a:p>
          <a:endParaRPr lang="de-DE">
            <a:latin typeface="Quicksand" pitchFamily="2" charset="0"/>
          </a:endParaRPr>
        </a:p>
      </dgm:t>
    </dgm:pt>
    <dgm:pt modelId="{D5936045-3527-42E8-8997-BEE8ADF761F9}" type="parTrans" cxnId="{9BB8E6A2-4D85-4458-80C0-AE09C3456F5D}">
      <dgm:prSet/>
      <dgm:spPr/>
      <dgm:t>
        <a:bodyPr/>
        <a:lstStyle/>
        <a:p>
          <a:endParaRPr lang="de-DE">
            <a:latin typeface="Quicksand" pitchFamily="2" charset="0"/>
          </a:endParaRPr>
        </a:p>
      </dgm:t>
    </dgm:pt>
    <dgm:pt modelId="{22AA9D6B-9393-4300-9701-3ADDD4F912CE}" type="pres">
      <dgm:prSet presAssocID="{2DC4C968-FC49-4CD3-8708-BCC22304F08E}" presName="arrowDiagram" presStyleCnt="0">
        <dgm:presLayoutVars>
          <dgm:chMax val="5"/>
          <dgm:dir/>
          <dgm:resizeHandles val="exact"/>
        </dgm:presLayoutVars>
      </dgm:prSet>
      <dgm:spPr/>
    </dgm:pt>
    <dgm:pt modelId="{B5CD9E9F-3CEB-4D54-BD0B-28AA6C04D371}" type="pres">
      <dgm:prSet presAssocID="{2DC4C968-FC49-4CD3-8708-BCC22304F08E}" presName="arrow" presStyleLbl="bgShp" presStyleIdx="0" presStyleCnt="1" custLinFactNeighborX="-27248"/>
      <dgm:spPr/>
    </dgm:pt>
    <dgm:pt modelId="{9E8842BB-D7F9-4588-9B42-726BD69341FD}" type="pres">
      <dgm:prSet presAssocID="{2DC4C968-FC49-4CD3-8708-BCC22304F08E}" presName="arrowDiagram1" presStyleCnt="0">
        <dgm:presLayoutVars>
          <dgm:bulletEnabled val="1"/>
        </dgm:presLayoutVars>
      </dgm:prSet>
      <dgm:spPr/>
    </dgm:pt>
    <dgm:pt modelId="{29F9CBBE-48D3-49C1-9E88-A0605F88A70A}" type="pres">
      <dgm:prSet presAssocID="{8ABD4376-6B71-4DB2-963C-CA423D2139E1}" presName="bullet1" presStyleLbl="node1" presStyleIdx="0" presStyleCnt="1" custLinFactNeighborX="-94319" custLinFactNeighborY="-55035"/>
      <dgm:spPr/>
    </dgm:pt>
    <dgm:pt modelId="{74145AE0-1D26-4261-AEA1-E83232E1B710}" type="pres">
      <dgm:prSet presAssocID="{8ABD4376-6B71-4DB2-963C-CA423D2139E1}" presName="textBox1" presStyleLbl="revTx" presStyleIdx="0" presStyleCnt="1" custScaleX="116185" custLinFactNeighborX="97317" custLinFactNeighborY="-31648">
        <dgm:presLayoutVars>
          <dgm:bulletEnabled val="1"/>
        </dgm:presLayoutVars>
      </dgm:prSet>
      <dgm:spPr/>
    </dgm:pt>
  </dgm:ptLst>
  <dgm:cxnLst>
    <dgm:cxn modelId="{06ADB389-6BEE-42AA-80CF-5BFD2DEF8796}" type="presOf" srcId="{8ABD4376-6B71-4DB2-963C-CA423D2139E1}" destId="{74145AE0-1D26-4261-AEA1-E83232E1B710}" srcOrd="0" destOrd="0" presId="urn:microsoft.com/office/officeart/2005/8/layout/arrow2"/>
    <dgm:cxn modelId="{571E6599-871D-4DF1-AA0E-FDDBE052C4A8}" type="presOf" srcId="{2DC4C968-FC49-4CD3-8708-BCC22304F08E}" destId="{22AA9D6B-9393-4300-9701-3ADDD4F912CE}" srcOrd="0" destOrd="0" presId="urn:microsoft.com/office/officeart/2005/8/layout/arrow2"/>
    <dgm:cxn modelId="{9BB8E6A2-4D85-4458-80C0-AE09C3456F5D}" srcId="{2DC4C968-FC49-4CD3-8708-BCC22304F08E}" destId="{8ABD4376-6B71-4DB2-963C-CA423D2139E1}" srcOrd="0" destOrd="0" parTransId="{D5936045-3527-42E8-8997-BEE8ADF761F9}" sibTransId="{0FD01EC6-5D66-4467-9F73-519B73033E2E}"/>
    <dgm:cxn modelId="{204B3110-3241-4094-B880-1906757F4347}" type="presParOf" srcId="{22AA9D6B-9393-4300-9701-3ADDD4F912CE}" destId="{B5CD9E9F-3CEB-4D54-BD0B-28AA6C04D371}" srcOrd="0" destOrd="0" presId="urn:microsoft.com/office/officeart/2005/8/layout/arrow2"/>
    <dgm:cxn modelId="{8FD460A6-A1D1-4894-A521-836C2B14DD45}" type="presParOf" srcId="{22AA9D6B-9393-4300-9701-3ADDD4F912CE}" destId="{9E8842BB-D7F9-4588-9B42-726BD69341FD}" srcOrd="1" destOrd="0" presId="urn:microsoft.com/office/officeart/2005/8/layout/arrow2"/>
    <dgm:cxn modelId="{37B971FC-01C1-4E63-A37F-92270DF167A0}" type="presParOf" srcId="{9E8842BB-D7F9-4588-9B42-726BD69341FD}" destId="{29F9CBBE-48D3-49C1-9E88-A0605F88A70A}" srcOrd="0" destOrd="0" presId="urn:microsoft.com/office/officeart/2005/8/layout/arrow2"/>
    <dgm:cxn modelId="{2947DAF2-20A7-4790-94A5-62BF9CE9387A}" type="presParOf" srcId="{9E8842BB-D7F9-4588-9B42-726BD69341FD}" destId="{74145AE0-1D26-4261-AEA1-E83232E1B710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CD9E9F-3CEB-4D54-BD0B-28AA6C04D371}">
      <dsp:nvSpPr>
        <dsp:cNvPr id="0" name=""/>
        <dsp:cNvSpPr/>
      </dsp:nvSpPr>
      <dsp:spPr>
        <a:xfrm>
          <a:off x="0" y="0"/>
          <a:ext cx="8267699" cy="5167312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9CBBE-48D3-49C1-9E88-A0605F88A70A}">
      <dsp:nvSpPr>
        <dsp:cNvPr id="0" name=""/>
        <dsp:cNvSpPr/>
      </dsp:nvSpPr>
      <dsp:spPr>
        <a:xfrm>
          <a:off x="7693352" y="711221"/>
          <a:ext cx="611809" cy="6118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145AE0-1D26-4261-AEA1-E83232E1B710}">
      <dsp:nvSpPr>
        <dsp:cNvPr id="0" name=""/>
        <dsp:cNvSpPr/>
      </dsp:nvSpPr>
      <dsp:spPr>
        <a:xfrm>
          <a:off x="8219955" y="146946"/>
          <a:ext cx="3842330" cy="3813476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24185" bIns="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0" kern="1200" dirty="0">
              <a:solidFill>
                <a:schemeClr val="bg1"/>
              </a:solidFill>
              <a:latin typeface="Quicksand" pitchFamily="2" charset="0"/>
            </a:rPr>
            <a:t>Südkore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Quicksand" pitchFamily="2" charset="0"/>
            </a:rPr>
            <a:t>Akklimatisierungstag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Quicksand" pitchFamily="2" charset="0"/>
            </a:rPr>
            <a:t>Jambore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0" kern="1200" dirty="0">
              <a:solidFill>
                <a:schemeClr val="bg1"/>
              </a:solidFill>
              <a:latin typeface="Quicksand" pitchFamily="2" charset="0"/>
            </a:rPr>
            <a:t>29. Juli - 12. August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Quicksand" pitchFamily="2" charset="0"/>
            </a:rPr>
            <a:t>Vor/</a:t>
          </a:r>
          <a:r>
            <a:rPr lang="de-DE" sz="2000" b="1" kern="1200" dirty="0" err="1">
              <a:latin typeface="Quicksand" pitchFamily="2" charset="0"/>
            </a:rPr>
            <a:t>Nachtour</a:t>
          </a:r>
          <a:endParaRPr lang="de-DE" sz="2000" b="1" kern="1200" dirty="0">
            <a:latin typeface="Quicksand" pitchFamily="2" charset="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 err="1">
              <a:latin typeface="Quicksand" pitchFamily="2" charset="0"/>
            </a:rPr>
            <a:t>HoHo</a:t>
          </a:r>
          <a:endParaRPr lang="de-DE" sz="2000" b="1" kern="1200" dirty="0">
            <a:latin typeface="Quicksand" pitchFamily="2" charset="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0" kern="1200" dirty="0">
              <a:solidFill>
                <a:schemeClr val="bg1"/>
              </a:solidFill>
              <a:latin typeface="Quicksand" pitchFamily="2" charset="0"/>
            </a:rPr>
            <a:t>± ca. 9 Tage</a:t>
          </a:r>
        </a:p>
      </dsp:txBody>
      <dsp:txXfrm>
        <a:off x="8406114" y="333105"/>
        <a:ext cx="3470012" cy="34411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DBA9E4-89C2-154A-ADC0-953BB1D4D175}" type="datetimeFigureOut">
              <a:rPr lang="en-US" smtClean="0"/>
              <a:t>3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2EBD2-4A89-5A44-80A4-32C17EF0953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87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Buchungen in Zusammenarbeit mit einem erfahrenen Reiseanbiet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12EBD2-4A89-5A44-80A4-32C17EF0953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59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19BF5-29F0-314A-8D78-1BBECDF2CD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67858"/>
            <a:ext cx="9144000" cy="1006475"/>
          </a:xfrm>
        </p:spPr>
        <p:txBody>
          <a:bodyPr anchor="b">
            <a:normAutofit/>
          </a:bodyPr>
          <a:lstStyle>
            <a:lvl1pPr algn="ctr">
              <a:defRPr sz="7200" spc="100" baseline="0">
                <a:solidFill>
                  <a:schemeClr val="bg2"/>
                </a:solidFill>
                <a:latin typeface="Cabana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A62229-48FE-624F-9973-DD18250913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642610"/>
            <a:ext cx="9144000" cy="871990"/>
          </a:xfrm>
        </p:spPr>
        <p:txBody>
          <a:bodyPr>
            <a:normAutofit/>
          </a:bodyPr>
          <a:lstStyle>
            <a:lvl1pPr marL="0" indent="0" algn="ctr">
              <a:buNone/>
              <a:defRPr sz="5400">
                <a:solidFill>
                  <a:schemeClr val="tx2"/>
                </a:solidFill>
                <a:latin typeface="Cabana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14F54F-F85F-9746-9682-1E1D4910F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5C5C9-164C-46B3-A87E-7660D39D3106}" type="datetime2">
              <a:rPr lang="en-US" smtClean="0"/>
              <a:t>Tuesday, March 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D8FC03-E691-484B-B5C9-ACCED6E89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F7667F-2E50-644A-B7BC-28B1D511D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B7EF88AD-2BA5-D54B-86A3-919748FDA4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3029" y="2627923"/>
            <a:ext cx="4005942" cy="416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203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964D4F-32D8-3B42-8489-D1A298EA9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82B9C-D65E-4F64-95C3-B10F3B00F0D9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9AC113-98C2-0F4A-A101-D50C2EE26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E8103-461A-AC47-A37F-1FCEE79A1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83DA2F3A-19B7-4B4F-B859-7BAE616514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51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3210-0912-1A46-979C-7FF1526BD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2A25A5-95F3-C540-9689-8367E58874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E66FE-5077-F440-A784-61ADBA1907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634DD7-1E11-8D4E-B085-EAFED637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F5FDCC-6AAC-4A08-B9E0-3793AB5E64C3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A6195A-2D54-8345-84D4-37A513D05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61DE08-AE12-1545-88E1-9C35EBA84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9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F13700D4-8374-5148-8F28-F7932B923A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71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DD98D-2613-E54C-8C73-F14945D7A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179E8E-3E79-6D45-90B1-FF421A8C8E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D6F10F-97A7-1B44-B68E-8331865447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6B36D-0FAA-5B46-99A1-7243B9C4B5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FE94D-439C-40F1-900E-BC07940E3988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04C934-14EB-2648-B752-56E244B31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D9715-6575-9E45-9A81-E3D44EAC1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D12D1082-EBF8-5C40-B20E-49AB53F32F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70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817E9-9FDF-2844-A14D-404E78FC5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6868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D0EEF6-8233-014B-9F3F-288945AD67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F31C4A-F156-3445-A683-C7995EF2D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75179A-1E2B-41AB-B400-4F1B4022FAEE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22F68-3D39-B64A-BF87-CD4D8E05D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5B77E-78CF-5B4C-AA24-E569A361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6E2CE125-2673-ED40-A7D1-AB1B3D6757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611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3E39D2-C27A-8548-868F-1F3FCA411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417004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29099-82EB-774B-A583-B985C3C872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417004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175321-46F3-B94D-ACDF-A65C5B732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81D0F-6595-4F14-8EF3-954CD87C797B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7082B-1B1F-E34E-9817-E0A48BE9F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458D1E-CB5B-6B4B-85FB-CF44A82A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 descr="A picture containing diagram&#10;&#10;Description automatically generated">
            <a:extLst>
              <a:ext uri="{FF2B5EF4-FFF2-40B4-BE49-F238E27FC236}">
                <a16:creationId xmlns:a16="http://schemas.microsoft.com/office/drawing/2014/main" id="{07855973-009B-D94B-AF4F-2D5144A012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683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B63E4-DB25-5E48-AEB9-5B468F5EC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719457" cy="1325563"/>
          </a:xfrm>
        </p:spPr>
        <p:txBody>
          <a:bodyPr>
            <a:normAutofit/>
          </a:bodyPr>
          <a:lstStyle>
            <a:lvl1pPr>
              <a:defRPr sz="6600" spc="100" baseline="0">
                <a:latin typeface="Cabana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570E9-7075-FA46-9168-98DADD848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BEAA6D-29A1-A147-B6FA-EF2760AE3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CFF8A-AAF8-4A12-8A91-9CA0EAF6CBB9}" type="datetime2">
              <a:rPr lang="en-US" smtClean="0"/>
              <a:t>Tuesday, March 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C27A10-FCEF-8E4E-94C8-0EC73E91D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1D48A-F9BF-6C40-B843-BEB8C5CF2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DD4145-3833-4847-878E-2FAC68ABBA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31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B63E4-DB25-5E48-AEB9-5B468F5EC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719457" cy="1325563"/>
          </a:xfrm>
        </p:spPr>
        <p:txBody>
          <a:bodyPr>
            <a:normAutofit/>
          </a:bodyPr>
          <a:lstStyle>
            <a:lvl1pPr>
              <a:defRPr sz="6600" spc="100" baseline="0">
                <a:latin typeface="Cabana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570E9-7075-FA46-9168-98DADD848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BEAA6D-29A1-A147-B6FA-EF2760AE3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CFF8A-AAF8-4A12-8A91-9CA0EAF6CBB9}" type="datetime2">
              <a:rPr lang="en-US" smtClean="0"/>
              <a:t>Tuesday, March 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C27A10-FCEF-8E4E-94C8-0EC73E91D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1D48A-F9BF-6C40-B843-BEB8C5CF2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DD4145-3833-4847-878E-2FAC68ABBA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21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D6CBE8-5D92-3C4A-8A16-8BC16BDFB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89B21-7711-F948-94E8-7E8DCC70D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chemeClr val="tx2"/>
                </a:solidFill>
                <a:latin typeface="Cabana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40112-2B36-5C4A-9DF1-5446D724C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25C3-021A-4B0B-8F70-0C181FE1CF45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417FAB-724A-DB4F-BFE6-026FA2528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7E4C6-A43A-A743-8AE6-0B7C439BD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 descr="A picture containing diagram&#10;&#10;Description automatically generated">
            <a:extLst>
              <a:ext uri="{FF2B5EF4-FFF2-40B4-BE49-F238E27FC236}">
                <a16:creationId xmlns:a16="http://schemas.microsoft.com/office/drawing/2014/main" id="{41D11502-5FAD-D647-BE01-E959DDEAE2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47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B9B8A6-9838-6442-A076-F6D3F6759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730343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27F68-28FC-3E48-B9B9-71471B0202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AC54E9-45C7-2C45-87BA-E541044D1A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908017-0950-764E-A3F7-7CD308514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23D88D-8CEC-4ED9-A53B-5596187D9A16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A64D0A-2DF3-5E4B-BE54-2D38F8AD4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15076A-5CBF-BC45-8998-708993024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BB3FEADE-5147-4A44-BAC6-AE3BF973BA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65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F43E7-DF32-0844-8FB4-1DAC2CA60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696098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9F42C3-5988-F04D-9C81-AF15199E23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036CF1-B4D2-8243-8732-66919280CF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C78B7A-DC24-344C-B2EB-84B24A5DF2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4DC1B2-0243-AE44-A8EF-25FBA8A8D3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6899E6-124E-7E4D-BD3E-248EE088A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CD382-DFDA-4722-A27A-59C21AD112F2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61DE97E-0DF8-6E4F-8E5F-444E87BC5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389C8B-732A-1447-99A0-2F733A1BE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id="{023AEB97-D641-644F-8E1C-31FB20BA76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495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A37F6-2923-2747-B9D0-267974B9E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395857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4FD14D-CDAA-EB49-8E05-106798E17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2A30D-1C09-413F-AAB1-38F366000715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32C07E-5177-2347-86A0-3A7C0F738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000120-BB26-9249-B513-F70221B4D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 descr="A picture containing diagram&#10;&#10;Description automatically generated">
            <a:extLst>
              <a:ext uri="{FF2B5EF4-FFF2-40B4-BE49-F238E27FC236}">
                <a16:creationId xmlns:a16="http://schemas.microsoft.com/office/drawing/2014/main" id="{A9E25644-D298-964C-ABE5-7092F73CB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891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A37F6-2923-2747-B9D0-267974B9E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741229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4FD14D-CDAA-EB49-8E05-106798E17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2A30D-1C09-413F-AAB1-38F366000715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32C07E-5177-2347-86A0-3A7C0F738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000120-BB26-9249-B513-F70221B4D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7F3DD060-2CA5-744D-B5CC-1444E8FE90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02" y="0"/>
            <a:ext cx="1662184" cy="172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562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964D4F-32D8-3B42-8489-D1A298EA9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82B9C-D65E-4F64-95C3-B10F3B00F0D9}" type="datetime2">
              <a:rPr lang="en-US" smtClean="0"/>
              <a:t>Tuesday, March 1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9AC113-98C2-0F4A-A101-D50C2EE26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E8103-461A-AC47-A37F-1FCEE79A1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1B6DD-29C1-4FEA-923F-71EA1347694C}" type="slidenum">
              <a:rPr lang="en-US" smtClean="0"/>
              <a:t>‹Nr.›</a:t>
            </a:fld>
            <a:endParaRPr lang="en-US"/>
          </a:p>
        </p:txBody>
      </p:sp>
      <p:pic>
        <p:nvPicPr>
          <p:cNvPr id="5" name="Picture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B250B45A-DD27-9B4F-B41D-916BD30EA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6560" y="5918654"/>
            <a:ext cx="904080" cy="9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101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7C81D0-D595-8C4C-8425-1CB74FD51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F18BD6-3B62-2848-8B12-55486A04C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D8DFE2-AA19-9F4C-BE12-AABB68C99A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EA2CF1-0EB2-4673-802D-3371233E4A77}" type="datetime2">
              <a:rPr lang="en-US" smtClean="0"/>
              <a:t>Tuesday, March 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7C7CB4-63F6-BB4C-A94B-A19E56B25F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EE775-1B77-4142-AEE3-CAD0D7EF80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21B6DD-29C1-4FEA-923F-71EA1347694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121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11" r:id="rId3"/>
    <p:sldLayoutId id="2147483702" r:id="rId4"/>
    <p:sldLayoutId id="2147483703" r:id="rId5"/>
    <p:sldLayoutId id="2147483704" r:id="rId6"/>
    <p:sldLayoutId id="2147483705" r:id="rId7"/>
    <p:sldLayoutId id="2147483712" r:id="rId8"/>
    <p:sldLayoutId id="2147483706" r:id="rId9"/>
    <p:sldLayoutId id="2147483713" r:id="rId10"/>
    <p:sldLayoutId id="2147483707" r:id="rId11"/>
    <p:sldLayoutId id="2147483708" r:id="rId12"/>
    <p:sldLayoutId id="2147483709" r:id="rId13"/>
    <p:sldLayoutId id="2147483710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7700" b="1" i="0" kern="1200" spc="100" baseline="0">
          <a:solidFill>
            <a:schemeClr val="bg1"/>
          </a:solidFill>
          <a:latin typeface="Caban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chemeClr val="bg1"/>
          </a:solidFill>
          <a:latin typeface="Quicksand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bg1"/>
          </a:solidFill>
          <a:latin typeface="Quicksand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bg1"/>
          </a:solidFill>
          <a:latin typeface="Quicksand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1"/>
          </a:solidFill>
          <a:latin typeface="Quicksand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bg1"/>
          </a:solidFill>
          <a:latin typeface="Quicksand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Unit-info@worldscoutjamboree.de" TargetMode="External"/><Relationship Id="rId2" Type="http://schemas.openxmlformats.org/officeDocument/2006/relationships/hyperlink" Target="mailto:info@worldscoutjamboree.de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2EAF6-8916-B443-BD87-2DD4941863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195527"/>
            <a:ext cx="12192000" cy="1006475"/>
          </a:xfrm>
        </p:spPr>
        <p:txBody>
          <a:bodyPr>
            <a:normAutofit fontScale="90000"/>
          </a:bodyPr>
          <a:lstStyle/>
          <a:p>
            <a:r>
              <a:rPr lang="de-DE" spc="300" dirty="0"/>
              <a:t>25. World Scout Jamboree Korea </a:t>
            </a:r>
            <a:r>
              <a:rPr lang="de-DE" spc="300" dirty="0">
                <a:ea typeface="Brush Script MT" panose="03060802040406070304" pitchFamily="66" charset="-122"/>
                <a:cs typeface="Brush Script MT" panose="03060802040406070304" pitchFamily="66" charset="-122"/>
              </a:rPr>
              <a:t>2023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A48914-D15C-6749-8682-F723CCC5B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51357"/>
            <a:ext cx="12192000" cy="871990"/>
          </a:xfrm>
        </p:spPr>
        <p:txBody>
          <a:bodyPr/>
          <a:lstStyle/>
          <a:p>
            <a:r>
              <a:rPr lang="de-DE" b="1" dirty="0"/>
              <a:t>Informationen zum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DB7C6E39-C178-489D-986A-9DE33C6F2D02}"/>
              </a:ext>
            </a:extLst>
          </p:cNvPr>
          <p:cNvSpPr txBox="1">
            <a:spLocks/>
          </p:cNvSpPr>
          <p:nvPr/>
        </p:nvSpPr>
        <p:spPr>
          <a:xfrm>
            <a:off x="0" y="2270414"/>
            <a:ext cx="12192000" cy="8719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kern="1200" baseline="0">
                <a:solidFill>
                  <a:schemeClr val="tx2"/>
                </a:solidFill>
                <a:latin typeface="Cabana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Für interessierte Teilnehmer*innen und </a:t>
            </a:r>
            <a:r>
              <a:rPr lang="de-DE" b="1" dirty="0" err="1"/>
              <a:t>eltern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1204494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5024" y="2869467"/>
            <a:ext cx="5170715" cy="1708307"/>
          </a:xfrm>
        </p:spPr>
        <p:txBody>
          <a:bodyPr>
            <a:normAutofit/>
          </a:bodyPr>
          <a:lstStyle/>
          <a:p>
            <a:pPr algn="ctr"/>
            <a:r>
              <a:rPr lang="en-US" sz="8000" spc="300" dirty="0">
                <a:solidFill>
                  <a:schemeClr val="bg2"/>
                </a:solidFill>
              </a:rPr>
              <a:t>Die Unit</a:t>
            </a:r>
            <a:endParaRPr lang="en-US" sz="8000" dirty="0">
              <a:solidFill>
                <a:schemeClr val="bg2"/>
              </a:solidFill>
            </a:endParaRP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CA26FF34-9723-4DF2-9E70-347255A2B27E}"/>
              </a:ext>
            </a:extLst>
          </p:cNvPr>
          <p:cNvSpPr txBox="1">
            <a:spLocks/>
          </p:cNvSpPr>
          <p:nvPr/>
        </p:nvSpPr>
        <p:spPr>
          <a:xfrm>
            <a:off x="6605025" y="4405748"/>
            <a:ext cx="5170714" cy="127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>
                <a:solidFill>
                  <a:schemeClr val="tx2"/>
                </a:solidFill>
              </a:rPr>
              <a:t>Zusammensetzung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Leitung</a:t>
            </a:r>
            <a:r>
              <a:rPr lang="en-US" dirty="0">
                <a:solidFill>
                  <a:schemeClr val="tx2"/>
                </a:solidFill>
              </a:rPr>
              <a:t> &amp; </a:t>
            </a:r>
            <a:r>
              <a:rPr lang="en-US" dirty="0" err="1">
                <a:solidFill>
                  <a:schemeClr val="tx2"/>
                </a:solidFill>
              </a:rPr>
              <a:t>Vorbereitung</a:t>
            </a:r>
            <a:endParaRPr lang="en-US" dirty="0">
              <a:solidFill>
                <a:schemeClr val="tx2"/>
              </a:solidFill>
            </a:endParaRPr>
          </a:p>
          <a:p>
            <a:pPr marL="0"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sz="2000" dirty="0"/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E152C9DD-C16E-46C3-A6EE-B7F06175A83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5" r="15475"/>
          <a:stretch/>
        </p:blipFill>
        <p:spPr>
          <a:xfrm>
            <a:off x="0" y="-50547"/>
            <a:ext cx="5966085" cy="690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01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19333B-A3F7-4A25-AC2F-B362E8920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ilnehmer*innen (TN)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7FC92B92-D145-46A1-B25C-3263A050280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1000" y="2172494"/>
            <a:ext cx="5181600" cy="3454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A60D9F1-FFCC-441B-AE0B-450F34C18BCD}"/>
              </a:ext>
            </a:extLst>
          </p:cNvPr>
          <p:cNvSpPr txBox="1">
            <a:spLocks/>
          </p:cNvSpPr>
          <p:nvPr/>
        </p:nvSpPr>
        <p:spPr>
          <a:xfrm>
            <a:off x="279400" y="2141537"/>
            <a:ext cx="6578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eboren zwischen dem 22. Juli 2005 und 31. Juli 2009</a:t>
            </a:r>
          </a:p>
          <a:p>
            <a:r>
              <a:rPr lang="de-DE" dirty="0"/>
              <a:t>Mitglied im </a:t>
            </a:r>
            <a:r>
              <a:rPr lang="de-DE" dirty="0" err="1"/>
              <a:t>rdp</a:t>
            </a:r>
            <a:r>
              <a:rPr lang="de-DE" dirty="0"/>
              <a:t> (VCP, DPSG, BdP &amp; BMPPD)</a:t>
            </a:r>
          </a:p>
          <a:p>
            <a:r>
              <a:rPr lang="de-DE" dirty="0"/>
              <a:t>36 Jugendliche pro Unit</a:t>
            </a:r>
          </a:p>
          <a:p>
            <a:r>
              <a:rPr lang="de-DE" dirty="0"/>
              <a:t>Teilnahme unabhängig der Ortsgruppe möglich</a:t>
            </a:r>
          </a:p>
          <a:p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73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0538F2-BC54-4C68-BEE6-D1AE2DD9A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23909"/>
            <a:ext cx="6346371" cy="1325563"/>
          </a:xfrm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Unitleitungen</a:t>
            </a:r>
            <a:r>
              <a:rPr lang="de-DE" dirty="0">
                <a:solidFill>
                  <a:schemeClr val="bg1"/>
                </a:solidFill>
              </a:rPr>
              <a:t> (UL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E9C686-611D-46B0-8DF3-AA2FD05B96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92098" y="1613044"/>
            <a:ext cx="6362704" cy="4976019"/>
          </a:xfrm>
        </p:spPr>
        <p:txBody>
          <a:bodyPr>
            <a:normAutofit/>
          </a:bodyPr>
          <a:lstStyle/>
          <a:p>
            <a:pPr marL="0" indent="0">
              <a:lnSpc>
                <a:spcPct val="130000"/>
              </a:lnSpc>
              <a:buNone/>
            </a:pPr>
            <a:r>
              <a:rPr lang="de-DE" sz="2600" dirty="0"/>
              <a:t>4 ULs pro Unit =&gt; 40 Personen pro Unit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Motivation und inhaltliche Vorbereitung der Unit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Planung &amp; Durchführung der Vorbereitungstreffen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Begleitung und Betreuung der Reise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erste Ansprechpartner*in für Fragen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verantwortungsbewusstes &amp; reflektiertes Handeln</a:t>
            </a:r>
          </a:p>
          <a:p>
            <a:pPr lvl="1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Unterstützung durch </a:t>
            </a:r>
            <a:r>
              <a:rPr lang="de-DE" sz="2000" dirty="0" err="1"/>
              <a:t>Unitbetreuung</a:t>
            </a:r>
            <a:endParaRPr lang="de-DE" sz="2000" dirty="0"/>
          </a:p>
          <a:p>
            <a:pPr>
              <a:lnSpc>
                <a:spcPct val="130000"/>
              </a:lnSpc>
              <a:buFont typeface="Wingdings" panose="05000000000000000000" pitchFamily="2" charset="2"/>
              <a:buChar char="Ø"/>
            </a:pPr>
            <a:endParaRPr lang="de-DE" sz="24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3257053-8917-014A-8F4A-91B32721263C}"/>
              </a:ext>
            </a:extLst>
          </p:cNvPr>
          <p:cNvSpPr txBox="1">
            <a:spLocks/>
          </p:cNvSpPr>
          <p:nvPr/>
        </p:nvSpPr>
        <p:spPr>
          <a:xfrm>
            <a:off x="7184570" y="1959406"/>
            <a:ext cx="4927598" cy="443345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4400" b="1" dirty="0" err="1">
                <a:solidFill>
                  <a:schemeClr val="tx2"/>
                </a:solidFill>
                <a:latin typeface="Cabana" pitchFamily="2" charset="0"/>
              </a:rPr>
              <a:t>Voraussetzung</a:t>
            </a:r>
            <a:r>
              <a:rPr lang="en-US" sz="4400" b="1" dirty="0">
                <a:solidFill>
                  <a:schemeClr val="tx2"/>
                </a:solidFill>
                <a:latin typeface="Cabana" pitchFamily="2" charset="0"/>
              </a:rPr>
              <a:t> </a:t>
            </a:r>
            <a:r>
              <a:rPr lang="en-US" sz="4400" b="1" dirty="0" err="1">
                <a:solidFill>
                  <a:schemeClr val="tx2"/>
                </a:solidFill>
                <a:latin typeface="Cabana" pitchFamily="2" charset="0"/>
              </a:rPr>
              <a:t>für</a:t>
            </a:r>
            <a:r>
              <a:rPr lang="en-US" sz="4400" b="1" dirty="0">
                <a:solidFill>
                  <a:schemeClr val="tx2"/>
                </a:solidFill>
                <a:latin typeface="Cabana" pitchFamily="2" charset="0"/>
              </a:rPr>
              <a:t> UL</a:t>
            </a:r>
          </a:p>
          <a:p>
            <a:pPr>
              <a:lnSpc>
                <a:spcPct val="130000"/>
              </a:lnSpc>
            </a:pPr>
            <a:r>
              <a:rPr lang="de-DE" sz="2000" dirty="0"/>
              <a:t>b</a:t>
            </a:r>
            <a:r>
              <a:rPr lang="de-DE" sz="2000" dirty="0">
                <a:solidFill>
                  <a:schemeClr val="bg1"/>
                </a:solidFill>
              </a:rPr>
              <a:t>ei Anmeldung 18 Jahre alt</a:t>
            </a:r>
          </a:p>
          <a:p>
            <a:pPr>
              <a:lnSpc>
                <a:spcPct val="130000"/>
              </a:lnSpc>
            </a:pPr>
            <a:r>
              <a:rPr lang="de-DE" sz="2000" dirty="0">
                <a:solidFill>
                  <a:schemeClr val="bg1"/>
                </a:solidFill>
              </a:rPr>
              <a:t>Leitungs-/Führungserfahrung </a:t>
            </a:r>
            <a:r>
              <a:rPr lang="de-DE" sz="2000" dirty="0"/>
              <a:t>mit abgeschlossener Gruppenleiterausbildung</a:t>
            </a:r>
          </a:p>
          <a:p>
            <a:pPr>
              <a:lnSpc>
                <a:spcPct val="130000"/>
              </a:lnSpc>
            </a:pPr>
            <a:r>
              <a:rPr lang="de-DE" sz="2000" dirty="0"/>
              <a:t>Bestätigung der Einsichtnahme in das erweiterte Führungszeugnis</a:t>
            </a:r>
          </a:p>
          <a:p>
            <a:pPr>
              <a:lnSpc>
                <a:spcPct val="130000"/>
              </a:lnSpc>
            </a:pPr>
            <a:r>
              <a:rPr lang="de-DE" sz="2000" dirty="0"/>
              <a:t>Empfehlung durch Landes/Diözesanleitung</a:t>
            </a:r>
          </a:p>
          <a:p>
            <a:pPr>
              <a:lnSpc>
                <a:spcPct val="130000"/>
              </a:lnSpc>
            </a:pPr>
            <a:endParaRPr lang="de-DE" sz="2000" dirty="0"/>
          </a:p>
          <a:p>
            <a:pPr marL="0" indent="0">
              <a:lnSpc>
                <a:spcPct val="130000"/>
              </a:lnSpc>
              <a:buNone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6473609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19333B-A3F7-4A25-AC2F-B362E8920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ung der Unit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B174EF4E-9741-485E-BE44-BF6BB4B49896}"/>
              </a:ext>
            </a:extLst>
          </p:cNvPr>
          <p:cNvSpPr txBox="1">
            <a:spLocks/>
          </p:cNvSpPr>
          <p:nvPr/>
        </p:nvSpPr>
        <p:spPr>
          <a:xfrm>
            <a:off x="6267450" y="2095838"/>
            <a:ext cx="5924550" cy="47621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4000" b="1" dirty="0">
                <a:solidFill>
                  <a:schemeClr val="tx2"/>
                </a:solidFill>
                <a:latin typeface="Cabana" pitchFamily="2" charset="0"/>
              </a:rPr>
              <a:t>Code-System</a:t>
            </a: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2000" dirty="0">
                <a:latin typeface="Quicksand" pitchFamily="2" charset="0"/>
              </a:rPr>
              <a:t>Idee: </a:t>
            </a:r>
            <a:r>
              <a:rPr lang="en-US" sz="2000" dirty="0" err="1">
                <a:latin typeface="Quicksand" pitchFamily="2" charset="0"/>
              </a:rPr>
              <a:t>Zuordnung</a:t>
            </a:r>
            <a:r>
              <a:rPr lang="en-US" sz="2000" dirty="0">
                <a:latin typeface="Quicksand" pitchFamily="2" charset="0"/>
              </a:rPr>
              <a:t> TN - UL</a:t>
            </a:r>
          </a:p>
          <a:p>
            <a:pPr>
              <a:lnSpc>
                <a:spcPct val="120000"/>
              </a:lnSpc>
            </a:pPr>
            <a:r>
              <a:rPr lang="en-US" sz="2000" dirty="0" err="1"/>
              <a:t>personalisiert</a:t>
            </a:r>
            <a:r>
              <a:rPr lang="en-US" sz="2000" dirty="0"/>
              <a:t> auf </a:t>
            </a:r>
            <a:r>
              <a:rPr lang="en-US" sz="2000" dirty="0" err="1"/>
              <a:t>vollständig</a:t>
            </a:r>
            <a:r>
              <a:rPr lang="en-US" sz="2000" dirty="0"/>
              <a:t> </a:t>
            </a:r>
            <a:r>
              <a:rPr lang="en-US" sz="2000" dirty="0" err="1"/>
              <a:t>angemeldete</a:t>
            </a:r>
            <a:r>
              <a:rPr lang="en-US" sz="2000" dirty="0"/>
              <a:t> UL</a:t>
            </a:r>
          </a:p>
          <a:p>
            <a:pPr>
              <a:lnSpc>
                <a:spcPct val="120000"/>
              </a:lnSpc>
            </a:pPr>
            <a:r>
              <a:rPr lang="en-US" sz="2000" dirty="0"/>
              <a:t>TNs </a:t>
            </a:r>
            <a:r>
              <a:rPr lang="en-US" sz="2000" dirty="0" err="1"/>
              <a:t>erhalten</a:t>
            </a:r>
            <a:r>
              <a:rPr lang="en-US" sz="2000" dirty="0"/>
              <a:t> </a:t>
            </a:r>
            <a:r>
              <a:rPr lang="en-US" sz="2000" dirty="0" err="1"/>
              <a:t>diese</a:t>
            </a:r>
            <a:r>
              <a:rPr lang="en-US" sz="2000" dirty="0"/>
              <a:t> von </a:t>
            </a:r>
            <a:r>
              <a:rPr lang="en-US" sz="2000" dirty="0" err="1"/>
              <a:t>ihnen</a:t>
            </a:r>
            <a:r>
              <a:rPr lang="en-US" sz="2000" dirty="0"/>
              <a:t> </a:t>
            </a:r>
            <a:r>
              <a:rPr lang="en-US" sz="2000" dirty="0" err="1"/>
              <a:t>bekannter</a:t>
            </a:r>
            <a:r>
              <a:rPr lang="en-US" sz="2000" dirty="0"/>
              <a:t> UL</a:t>
            </a:r>
          </a:p>
          <a:p>
            <a:pPr>
              <a:lnSpc>
                <a:spcPct val="120000"/>
              </a:lnSpc>
            </a:pPr>
            <a:r>
              <a:rPr lang="en-US" sz="2000" dirty="0" err="1"/>
              <a:t>keine</a:t>
            </a:r>
            <a:r>
              <a:rPr lang="en-US" sz="2000" dirty="0"/>
              <a:t> </a:t>
            </a:r>
            <a:r>
              <a:rPr lang="en-US" sz="2000" dirty="0" err="1"/>
              <a:t>Voraussetzung</a:t>
            </a:r>
            <a:r>
              <a:rPr lang="en-US" sz="2000" dirty="0"/>
              <a:t> </a:t>
            </a:r>
            <a:r>
              <a:rPr lang="en-US" sz="2000" dirty="0" err="1"/>
              <a:t>zur</a:t>
            </a:r>
            <a:r>
              <a:rPr lang="en-US" sz="2000" dirty="0"/>
              <a:t> </a:t>
            </a:r>
            <a:r>
              <a:rPr lang="en-US" sz="2000" dirty="0" err="1"/>
              <a:t>Teilnahme</a:t>
            </a:r>
            <a:endParaRPr lang="en-US" sz="2000" dirty="0"/>
          </a:p>
          <a:p>
            <a:pPr>
              <a:lnSpc>
                <a:spcPct val="120000"/>
              </a:lnSpc>
            </a:pPr>
            <a:r>
              <a:rPr lang="en-US" sz="2000" dirty="0" err="1"/>
              <a:t>auch</a:t>
            </a:r>
            <a:r>
              <a:rPr lang="en-US" sz="2000" dirty="0"/>
              <a:t> </a:t>
            </a:r>
            <a:r>
              <a:rPr lang="en-US" sz="2000" dirty="0" err="1"/>
              <a:t>nach</a:t>
            </a:r>
            <a:r>
              <a:rPr lang="en-US" sz="2000" dirty="0"/>
              <a:t> </a:t>
            </a:r>
            <a:r>
              <a:rPr lang="en-US" sz="2000" dirty="0" err="1"/>
              <a:t>Anmeldung</a:t>
            </a:r>
            <a:r>
              <a:rPr lang="en-US" sz="2000" dirty="0"/>
              <a:t> </a:t>
            </a:r>
            <a:r>
              <a:rPr lang="en-US" sz="2000" dirty="0" err="1"/>
              <a:t>eintragbar</a:t>
            </a:r>
            <a:endParaRPr lang="en-US" sz="2000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975B559-9626-4602-BB85-E46CE27911F4}"/>
              </a:ext>
            </a:extLst>
          </p:cNvPr>
          <p:cNvSpPr txBox="1">
            <a:spLocks/>
          </p:cNvSpPr>
          <p:nvPr/>
        </p:nvSpPr>
        <p:spPr>
          <a:xfrm>
            <a:off x="215900" y="2141537"/>
            <a:ext cx="6197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erfolgt nach Anmeldeschluss</a:t>
            </a:r>
          </a:p>
          <a:p>
            <a:r>
              <a:rPr lang="de-DE" sz="2400" dirty="0"/>
              <a:t>Zusammensetzung möglichst</a:t>
            </a:r>
          </a:p>
          <a:p>
            <a:pPr lvl="1"/>
            <a:r>
              <a:rPr lang="de-DE" sz="2000" dirty="0"/>
              <a:t>regional</a:t>
            </a:r>
          </a:p>
          <a:p>
            <a:pPr lvl="1"/>
            <a:r>
              <a:rPr lang="de-DE" sz="2000" dirty="0"/>
              <a:t>verbandsübergreifend</a:t>
            </a:r>
          </a:p>
          <a:p>
            <a:pPr lvl="1"/>
            <a:r>
              <a:rPr lang="de-DE" sz="2000" dirty="0"/>
              <a:t>gemischtgeschlechtlich</a:t>
            </a:r>
          </a:p>
          <a:p>
            <a:r>
              <a:rPr lang="de-DE" sz="2400" dirty="0"/>
              <a:t>Berücksichtigung von Wünschen</a:t>
            </a:r>
          </a:p>
          <a:p>
            <a:pPr lvl="1"/>
            <a:r>
              <a:rPr lang="de-DE" sz="2000" dirty="0"/>
              <a:t>Teilnehmer*innen aus einer Ortsgruppe werden nicht gesplittet -&gt; Kommentarfeld</a:t>
            </a:r>
          </a:p>
          <a:p>
            <a:pPr lvl="1"/>
            <a:r>
              <a:rPr lang="de-DE" sz="2000" dirty="0"/>
              <a:t>Zuordnung zu Wunsch-UL durch Codes-System</a:t>
            </a:r>
          </a:p>
          <a:p>
            <a:endParaRPr lang="de-DE" sz="2400" dirty="0"/>
          </a:p>
          <a:p>
            <a:pPr lvl="1"/>
            <a:endParaRPr lang="de-DE" sz="2000" dirty="0"/>
          </a:p>
          <a:p>
            <a:pPr lvl="1"/>
            <a:endParaRPr lang="de-DE" sz="2000" dirty="0"/>
          </a:p>
          <a:p>
            <a:pPr lvl="1"/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327487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70A596-1846-44B0-A59A-6B20EDDA0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bereitungstreff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F87AC9-DDC0-4EAB-B31B-0ED1FB9F31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0500" y="2061486"/>
            <a:ext cx="6273800" cy="4351338"/>
          </a:xfrm>
        </p:spPr>
        <p:txBody>
          <a:bodyPr/>
          <a:lstStyle/>
          <a:p>
            <a:r>
              <a:rPr lang="de-DE" dirty="0"/>
              <a:t>3 Treffen innerhalb der Unit</a:t>
            </a:r>
          </a:p>
          <a:p>
            <a:r>
              <a:rPr lang="de-DE" dirty="0"/>
              <a:t>Fokus auf</a:t>
            </a:r>
          </a:p>
          <a:p>
            <a:pPr lvl="1"/>
            <a:r>
              <a:rPr lang="de-DE" dirty="0"/>
              <a:t>Kennenlernen &amp; Miteinander</a:t>
            </a:r>
          </a:p>
          <a:p>
            <a:pPr lvl="1"/>
            <a:r>
              <a:rPr lang="de-DE" dirty="0"/>
              <a:t>Entwicklung einer eigenen Identität</a:t>
            </a:r>
          </a:p>
          <a:p>
            <a:pPr lvl="1"/>
            <a:r>
              <a:rPr lang="de-DE" dirty="0"/>
              <a:t>Planung der Touren</a:t>
            </a:r>
          </a:p>
          <a:p>
            <a:pPr lvl="1"/>
            <a:r>
              <a:rPr lang="de-DE" dirty="0"/>
              <a:t>Land, Leute &amp; Kultur in Korea</a:t>
            </a:r>
          </a:p>
          <a:p>
            <a:pPr lvl="1"/>
            <a:r>
              <a:rPr lang="de-DE" dirty="0"/>
              <a:t>Lagerleben auf dem Jamboree</a:t>
            </a:r>
          </a:p>
          <a:p>
            <a:r>
              <a:rPr lang="de-DE" dirty="0"/>
              <a:t>Teilnahme inklusive und verbindlich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D5F1763-4D9C-4731-B1A6-7E7AABDC6B73}"/>
              </a:ext>
            </a:extLst>
          </p:cNvPr>
          <p:cNvSpPr txBox="1">
            <a:spLocks/>
          </p:cNvSpPr>
          <p:nvPr/>
        </p:nvSpPr>
        <p:spPr>
          <a:xfrm>
            <a:off x="7066643" y="2061486"/>
            <a:ext cx="4889500" cy="339657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5200" b="1" dirty="0" err="1">
                <a:solidFill>
                  <a:schemeClr val="tx2"/>
                </a:solidFill>
                <a:latin typeface="Cabana" pitchFamily="2" charset="0"/>
              </a:rPr>
              <a:t>Organisation</a:t>
            </a:r>
            <a:endParaRPr lang="en-US" sz="5200" b="1" dirty="0">
              <a:solidFill>
                <a:schemeClr val="tx2"/>
              </a:solidFill>
              <a:latin typeface="Cabana" pitchFamily="2" charset="0"/>
            </a:endParaRPr>
          </a:p>
          <a:p>
            <a:pPr>
              <a:lnSpc>
                <a:spcPct val="120000"/>
              </a:lnSpc>
            </a:pPr>
            <a:r>
              <a:rPr lang="en-US" dirty="0"/>
              <a:t>Zeit &amp; Ort </a:t>
            </a:r>
            <a:r>
              <a:rPr lang="en-US" dirty="0" err="1"/>
              <a:t>durch</a:t>
            </a:r>
            <a:r>
              <a:rPr lang="en-US" dirty="0"/>
              <a:t> Unit </a:t>
            </a:r>
            <a:r>
              <a:rPr lang="en-US" dirty="0" err="1"/>
              <a:t>wählbar</a:t>
            </a:r>
            <a:endParaRPr lang="en-US" dirty="0"/>
          </a:p>
          <a:p>
            <a:pPr lvl="1">
              <a:lnSpc>
                <a:spcPct val="120000"/>
              </a:lnSpc>
            </a:pPr>
            <a:r>
              <a:rPr lang="en-US" dirty="0" err="1"/>
              <a:t>Frühjahr</a:t>
            </a:r>
            <a:r>
              <a:rPr lang="en-US" dirty="0"/>
              <a:t> 2022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Herbst 2022</a:t>
            </a:r>
          </a:p>
          <a:p>
            <a:pPr lvl="1">
              <a:lnSpc>
                <a:spcPct val="120000"/>
              </a:lnSpc>
            </a:pPr>
            <a:r>
              <a:rPr lang="en-US" dirty="0" err="1"/>
              <a:t>Frühjahr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2775341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91311-8D59-6141-8E20-F311836FA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INGENTSLAGE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E852D-7CBD-4943-9DEA-470E1A634E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7502" y="1939925"/>
            <a:ext cx="5638798" cy="435133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30000"/>
              </a:lnSpc>
            </a:pPr>
            <a:r>
              <a:rPr lang="de-DE" sz="2600" dirty="0"/>
              <a:t>gemeinsames vier-tägiges Zeltlager des gesamten Deutschen Kontingents </a:t>
            </a:r>
          </a:p>
          <a:p>
            <a:pPr>
              <a:lnSpc>
                <a:spcPct val="130000"/>
              </a:lnSpc>
            </a:pPr>
            <a:r>
              <a:rPr lang="de-DE" sz="2600" dirty="0"/>
              <a:t>Schwerpunkte: </a:t>
            </a:r>
          </a:p>
          <a:p>
            <a:pPr lvl="1">
              <a:lnSpc>
                <a:spcPct val="130000"/>
              </a:lnSpc>
            </a:pPr>
            <a:r>
              <a:rPr lang="de-DE" sz="2300" dirty="0"/>
              <a:t>Kennenlernen im Kontingent</a:t>
            </a:r>
          </a:p>
          <a:p>
            <a:pPr lvl="1">
              <a:lnSpc>
                <a:spcPct val="130000"/>
              </a:lnSpc>
            </a:pPr>
            <a:r>
              <a:rPr lang="de-DE" sz="2300" dirty="0"/>
              <a:t>Test für den „Jamboree-Alltag“ </a:t>
            </a:r>
          </a:p>
          <a:p>
            <a:pPr lvl="1">
              <a:lnSpc>
                <a:spcPct val="130000"/>
              </a:lnSpc>
            </a:pPr>
            <a:r>
              <a:rPr lang="de-DE" sz="2300" dirty="0"/>
              <a:t>letzte Unit-Vorbereitung</a:t>
            </a:r>
          </a:p>
          <a:p>
            <a:pPr lvl="1">
              <a:lnSpc>
                <a:spcPct val="130000"/>
              </a:lnSpc>
            </a:pPr>
            <a:r>
              <a:rPr lang="de-DE" sz="2300" dirty="0"/>
              <a:t>gemeinsame Veranstaltungen</a:t>
            </a:r>
          </a:p>
          <a:p>
            <a:pPr lvl="1">
              <a:lnSpc>
                <a:spcPct val="130000"/>
              </a:lnSpc>
            </a:pPr>
            <a:r>
              <a:rPr lang="de-DE" sz="2300" dirty="0"/>
              <a:t>„Mini-Jamboree“ mit </a:t>
            </a:r>
            <a:r>
              <a:rPr lang="de-DE" sz="2300" dirty="0" err="1"/>
              <a:t>MitMach</a:t>
            </a:r>
            <a:r>
              <a:rPr lang="de-DE" sz="2300" dirty="0"/>
              <a:t>-Angebo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665A7-D80F-5A42-983E-6F3220BCB8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2" y="1377109"/>
            <a:ext cx="5714998" cy="3396573"/>
          </a:xfrm>
        </p:spPr>
        <p:txBody>
          <a:bodyPr>
            <a:normAutofit fontScale="775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5200" b="1" dirty="0" err="1">
                <a:solidFill>
                  <a:schemeClr val="tx2"/>
                </a:solidFill>
                <a:latin typeface="Cabana" pitchFamily="2" charset="0"/>
              </a:rPr>
              <a:t>Organisation</a:t>
            </a:r>
            <a:endParaRPr lang="en-US" sz="5200" b="1" dirty="0">
              <a:solidFill>
                <a:schemeClr val="tx2"/>
              </a:solidFill>
              <a:latin typeface="Cabana" pitchFamily="2" charset="0"/>
            </a:endParaRPr>
          </a:p>
          <a:p>
            <a:pPr>
              <a:lnSpc>
                <a:spcPct val="120000"/>
              </a:lnSpc>
            </a:pPr>
            <a:r>
              <a:rPr lang="en-US" dirty="0"/>
              <a:t>18. – 21. Mai 2023 (Christi </a:t>
            </a:r>
            <a:r>
              <a:rPr lang="en-US" dirty="0" err="1"/>
              <a:t>Himmelfahrt</a:t>
            </a:r>
            <a:r>
              <a:rPr lang="en-US" dirty="0"/>
              <a:t>)</a:t>
            </a:r>
          </a:p>
          <a:p>
            <a:pPr>
              <a:lnSpc>
                <a:spcPct val="120000"/>
              </a:lnSpc>
            </a:pPr>
            <a:r>
              <a:rPr lang="en-US" dirty="0" err="1"/>
              <a:t>Zentrum</a:t>
            </a:r>
            <a:r>
              <a:rPr lang="en-US" dirty="0"/>
              <a:t> </a:t>
            </a:r>
            <a:r>
              <a:rPr lang="en-US" dirty="0" err="1"/>
              <a:t>Pfadfinden</a:t>
            </a:r>
            <a:r>
              <a:rPr lang="en-US" dirty="0"/>
              <a:t>, </a:t>
            </a:r>
            <a:r>
              <a:rPr lang="en-US" dirty="0" err="1"/>
              <a:t>Immenhausen</a:t>
            </a:r>
            <a:r>
              <a:rPr lang="en-US" dirty="0"/>
              <a:t> </a:t>
            </a:r>
            <a:r>
              <a:rPr lang="en-US" dirty="0" err="1"/>
              <a:t>bei</a:t>
            </a:r>
            <a:r>
              <a:rPr lang="en-US" dirty="0"/>
              <a:t> Kassel</a:t>
            </a:r>
          </a:p>
          <a:p>
            <a:pPr>
              <a:lnSpc>
                <a:spcPct val="120000"/>
              </a:lnSpc>
            </a:pPr>
            <a:r>
              <a:rPr lang="en-US" dirty="0" err="1"/>
              <a:t>koordinierte</a:t>
            </a:r>
            <a:r>
              <a:rPr lang="en-US" dirty="0"/>
              <a:t> </a:t>
            </a:r>
            <a:r>
              <a:rPr lang="en-US" dirty="0" err="1"/>
              <a:t>Anreise</a:t>
            </a:r>
            <a:r>
              <a:rPr lang="en-US" dirty="0"/>
              <a:t> </a:t>
            </a:r>
            <a:r>
              <a:rPr lang="en-US" dirty="0" err="1"/>
              <a:t>aus</a:t>
            </a:r>
            <a:r>
              <a:rPr lang="en-US" dirty="0"/>
              <a:t> Deutschland</a:t>
            </a:r>
          </a:p>
          <a:p>
            <a:pPr>
              <a:lnSpc>
                <a:spcPct val="120000"/>
              </a:lnSpc>
            </a:pPr>
            <a:r>
              <a:rPr lang="en-US" dirty="0"/>
              <a:t>IST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Möglichmacher</a:t>
            </a:r>
            <a:r>
              <a:rPr lang="en-US" dirty="0"/>
              <a:t>*</a:t>
            </a:r>
            <a:r>
              <a:rPr lang="en-US" dirty="0" err="1"/>
              <a:t>innen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D05763-C59E-40A3-921C-3F7D482D7D2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15" b="8516"/>
          <a:stretch/>
        </p:blipFill>
        <p:spPr>
          <a:xfrm>
            <a:off x="6929992" y="4385656"/>
            <a:ext cx="4119008" cy="21904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6086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9874" y="2390425"/>
            <a:ext cx="5170715" cy="1708307"/>
          </a:xfrm>
        </p:spPr>
        <p:txBody>
          <a:bodyPr>
            <a:normAutofit/>
          </a:bodyPr>
          <a:lstStyle/>
          <a:p>
            <a:pPr algn="ctr"/>
            <a:r>
              <a:rPr lang="en-US" sz="8000" spc="300" dirty="0">
                <a:solidFill>
                  <a:schemeClr val="bg2"/>
                </a:solidFill>
              </a:rPr>
              <a:t>Auf </a:t>
            </a:r>
            <a:r>
              <a:rPr lang="en-US" sz="8000" spc="300" dirty="0" err="1">
                <a:solidFill>
                  <a:schemeClr val="bg2"/>
                </a:solidFill>
              </a:rPr>
              <a:t>nach</a:t>
            </a:r>
            <a:r>
              <a:rPr lang="en-US" sz="8000" spc="300" dirty="0">
                <a:solidFill>
                  <a:schemeClr val="bg2"/>
                </a:solidFill>
              </a:rPr>
              <a:t> Korea</a:t>
            </a:r>
            <a:endParaRPr lang="en-US" sz="8000" dirty="0">
              <a:solidFill>
                <a:schemeClr val="bg2"/>
              </a:solidFill>
            </a:endParaRP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C5D7F061-412D-D149-85BA-3BB7EC04D8D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5" r="15475"/>
          <a:stretch/>
        </p:blipFill>
        <p:spPr>
          <a:xfrm>
            <a:off x="0" y="-50547"/>
            <a:ext cx="5966085" cy="6908547"/>
          </a:xfrm>
          <a:prstGeom prst="rect">
            <a:avLst/>
          </a:prstGeom>
        </p:spPr>
      </p:pic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329423DD-0D7A-7F42-BA6D-195AD31A30DA}"/>
              </a:ext>
            </a:extLst>
          </p:cNvPr>
          <p:cNvSpPr txBox="1">
            <a:spLocks/>
          </p:cNvSpPr>
          <p:nvPr/>
        </p:nvSpPr>
        <p:spPr>
          <a:xfrm>
            <a:off x="6789875" y="4098732"/>
            <a:ext cx="5170714" cy="127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>
                <a:solidFill>
                  <a:schemeClr val="tx2"/>
                </a:solidFill>
              </a:rPr>
              <a:t>Informationen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zur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Reise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nach</a:t>
            </a:r>
            <a:r>
              <a:rPr lang="en-US" dirty="0">
                <a:solidFill>
                  <a:schemeClr val="tx2"/>
                </a:solidFill>
              </a:rPr>
              <a:t> Korea, dem Platz &amp; dem </a:t>
            </a:r>
            <a:r>
              <a:rPr lang="en-US" dirty="0" err="1">
                <a:solidFill>
                  <a:schemeClr val="tx2"/>
                </a:solidFill>
              </a:rPr>
              <a:t>Programm</a:t>
            </a:r>
            <a:endParaRPr lang="en-US" dirty="0">
              <a:solidFill>
                <a:schemeClr val="tx2"/>
              </a:solidFill>
            </a:endParaRPr>
          </a:p>
          <a:p>
            <a:pPr marL="0"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739682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91311-8D59-6141-8E20-F311836FA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uREN</a:t>
            </a:r>
            <a:r>
              <a:rPr lang="de-DE" dirty="0"/>
              <a:t> &amp; </a:t>
            </a:r>
            <a:r>
              <a:rPr lang="de-DE" dirty="0" err="1"/>
              <a:t>HoH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E852D-7CBD-4943-9DEA-470E1A634E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6100" y="1542064"/>
            <a:ext cx="10274300" cy="4828720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de-DE" dirty="0"/>
              <a:t>Kennenlernen der koreanischen Kultur, Land &amp; Leute</a:t>
            </a:r>
          </a:p>
          <a:p>
            <a:pPr>
              <a:lnSpc>
                <a:spcPct val="110000"/>
              </a:lnSpc>
            </a:pPr>
            <a:r>
              <a:rPr lang="de-DE" sz="2400" dirty="0"/>
              <a:t>Unit-Tour vor oder nach dem Jamboree (abhängig vom Schulferien) </a:t>
            </a:r>
          </a:p>
          <a:p>
            <a:pPr>
              <a:lnSpc>
                <a:spcPct val="110000"/>
              </a:lnSpc>
            </a:pPr>
            <a:r>
              <a:rPr lang="de-DE" sz="2400" dirty="0"/>
              <a:t>Individuelle </a:t>
            </a:r>
            <a:r>
              <a:rPr lang="de-DE" sz="2400" dirty="0" err="1"/>
              <a:t>Tourfestlegung</a:t>
            </a:r>
            <a:r>
              <a:rPr lang="de-DE" sz="2400" dirty="0"/>
              <a:t> im Rahmen der </a:t>
            </a:r>
            <a:r>
              <a:rPr lang="de-DE" sz="2400" dirty="0" err="1"/>
              <a:t>Unitvorbereitung</a:t>
            </a:r>
            <a:endParaRPr lang="de-DE" sz="2400" dirty="0"/>
          </a:p>
          <a:p>
            <a:pPr lvl="1">
              <a:lnSpc>
                <a:spcPct val="110000"/>
              </a:lnSpc>
            </a:pPr>
            <a:r>
              <a:rPr lang="de-DE" sz="2000" dirty="0"/>
              <a:t>Auswahl aus versch. Modulen (inkl. Logistik, Unterkunft, Programm) </a:t>
            </a:r>
          </a:p>
          <a:p>
            <a:pPr lvl="1">
              <a:lnSpc>
                <a:spcPct val="110000"/>
              </a:lnSpc>
            </a:pPr>
            <a:r>
              <a:rPr lang="de-DE" sz="2000" dirty="0"/>
              <a:t>Möglichkeit zur eigenen Mitgestaltung </a:t>
            </a:r>
          </a:p>
          <a:p>
            <a:pPr>
              <a:lnSpc>
                <a:spcPct val="100000"/>
              </a:lnSpc>
            </a:pPr>
            <a:r>
              <a:rPr lang="de-DE" sz="2400" dirty="0"/>
              <a:t>geplant: Home Hospitality (Gastfamilienaufenthalt)</a:t>
            </a:r>
          </a:p>
          <a:p>
            <a:pPr>
              <a:lnSpc>
                <a:spcPct val="130000"/>
              </a:lnSpc>
            </a:pPr>
            <a:endParaRPr lang="de-DE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7657F21-7632-4DD6-9FBF-9A234109AD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376" y="4555702"/>
            <a:ext cx="2340624" cy="1558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9911C28-D7B8-4321-8289-8E0B1945EA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00" y="4555702"/>
            <a:ext cx="2340624" cy="1558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374BF55-957F-4BE8-9B13-E96FBFEA6C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538" y="4555702"/>
            <a:ext cx="2340624" cy="1558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CEAD3363-6255-4FAC-A893-6B3DE3CDFFE3}"/>
              </a:ext>
            </a:extLst>
          </p:cNvPr>
          <p:cNvSpPr txBox="1"/>
          <p:nvPr/>
        </p:nvSpPr>
        <p:spPr>
          <a:xfrm>
            <a:off x="369759" y="6186895"/>
            <a:ext cx="3404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Buddhistische Mönche im </a:t>
            </a:r>
            <a:r>
              <a:rPr lang="de-DE" dirty="0" err="1">
                <a:solidFill>
                  <a:schemeClr val="bg1"/>
                </a:solidFill>
              </a:rPr>
              <a:t>Haeinsa</a:t>
            </a:r>
            <a:r>
              <a:rPr lang="de-DE" dirty="0">
                <a:solidFill>
                  <a:schemeClr val="bg1"/>
                </a:solidFill>
              </a:rPr>
              <a:t> Tempel im Südosten Korea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59B487A-8246-4E6E-9E90-AFEDC82CB50F}"/>
              </a:ext>
            </a:extLst>
          </p:cNvPr>
          <p:cNvSpPr txBox="1"/>
          <p:nvPr/>
        </p:nvSpPr>
        <p:spPr>
          <a:xfrm>
            <a:off x="8303434" y="6325394"/>
            <a:ext cx="34045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Berge und Seen in Zentralkore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8CBDA6B-1B8E-489F-86C0-4CB1BD07A5FF}"/>
              </a:ext>
            </a:extLst>
          </p:cNvPr>
          <p:cNvSpPr txBox="1"/>
          <p:nvPr/>
        </p:nvSpPr>
        <p:spPr>
          <a:xfrm>
            <a:off x="4500513" y="6186895"/>
            <a:ext cx="3404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Cheongju</a:t>
            </a:r>
            <a:r>
              <a:rPr lang="de-DE" dirty="0">
                <a:solidFill>
                  <a:schemeClr val="bg1"/>
                </a:solidFill>
              </a:rPr>
              <a:t> Stadttempel – zwischen Tradition und Moderne</a:t>
            </a:r>
          </a:p>
        </p:txBody>
      </p:sp>
    </p:spTree>
    <p:extLst>
      <p:ext uri="{BB962C8B-B14F-4D97-AF65-F5344CB8AC3E}">
        <p14:creationId xmlns:p14="http://schemas.microsoft.com/office/powerpoint/2010/main" val="29479818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91311-8D59-6141-8E20-F311836FA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KLIMATISIERUNGSTAG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7CFA35-DAC2-4518-B579-9AC14D0AC6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1807" y="1849665"/>
            <a:ext cx="11136767" cy="4828720"/>
          </a:xfrm>
        </p:spPr>
        <p:txBody>
          <a:bodyPr>
            <a:noAutofit/>
          </a:bodyPr>
          <a:lstStyle/>
          <a:p>
            <a:pPr marL="0" indent="0">
              <a:lnSpc>
                <a:spcPct val="130000"/>
              </a:lnSpc>
              <a:buNone/>
            </a:pPr>
            <a:r>
              <a:rPr lang="de-DE" dirty="0"/>
              <a:t>gemeinsames viertägiges Zeltlager des Deutschen Kontingents</a:t>
            </a:r>
          </a:p>
          <a:p>
            <a:pPr>
              <a:lnSpc>
                <a:spcPct val="130000"/>
              </a:lnSpc>
            </a:pPr>
            <a:r>
              <a:rPr lang="de-DE" sz="2200" dirty="0"/>
              <a:t>in Südkorea direkt vor dem Jamboree</a:t>
            </a:r>
          </a:p>
          <a:p>
            <a:pPr>
              <a:lnSpc>
                <a:spcPct val="130000"/>
              </a:lnSpc>
            </a:pPr>
            <a:r>
              <a:rPr lang="de-DE" sz="2200" dirty="0"/>
              <a:t>Fokus liegt auf den TNs und Units: </a:t>
            </a:r>
          </a:p>
          <a:p>
            <a:pPr lvl="1">
              <a:lnSpc>
                <a:spcPct val="130000"/>
              </a:lnSpc>
            </a:pPr>
            <a:r>
              <a:rPr lang="de-DE" sz="1800" dirty="0"/>
              <a:t>Ankommen, Akklimatisierung an Zeitzone und Klima</a:t>
            </a:r>
          </a:p>
          <a:p>
            <a:pPr lvl="1">
              <a:lnSpc>
                <a:spcPct val="130000"/>
              </a:lnSpc>
            </a:pPr>
            <a:r>
              <a:rPr lang="de-DE" sz="1800" dirty="0"/>
              <a:t>Waschen, Durchatmen und Erlebnisse verarbeiten</a:t>
            </a:r>
          </a:p>
          <a:p>
            <a:pPr lvl="1">
              <a:lnSpc>
                <a:spcPct val="130000"/>
              </a:lnSpc>
            </a:pPr>
            <a:r>
              <a:rPr lang="de-DE" sz="1800" dirty="0"/>
              <a:t>Schwungholen fürs Jamboree</a:t>
            </a:r>
          </a:p>
          <a:p>
            <a:pPr>
              <a:lnSpc>
                <a:spcPct val="130000"/>
              </a:lnSpc>
            </a:pPr>
            <a:r>
              <a:rPr lang="de-DE" sz="2200" dirty="0"/>
              <a:t>gemeinsame Anreise zum Jambore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F6AE8DE-110C-4E01-A20A-5513135745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8338" y="2832028"/>
            <a:ext cx="3951161" cy="26353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12942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91FC5C-39B5-4686-B2FC-CD79C54E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28320"/>
            <a:ext cx="8942160" cy="1097279"/>
          </a:xfr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8000" spc="300" dirty="0" err="1">
                <a:solidFill>
                  <a:schemeClr val="bg1"/>
                </a:solidFill>
              </a:rPr>
              <a:t>Jamboreeplatz</a:t>
            </a:r>
            <a:r>
              <a:rPr lang="en-US" sz="8000" spc="300" dirty="0">
                <a:solidFill>
                  <a:schemeClr val="bg1"/>
                </a:solidFill>
              </a:rPr>
              <a:t> in </a:t>
            </a:r>
            <a:r>
              <a:rPr lang="en-US" sz="8000" spc="300" dirty="0" err="1">
                <a:solidFill>
                  <a:schemeClr val="bg1"/>
                </a:solidFill>
              </a:rPr>
              <a:t>Saemangeum</a:t>
            </a:r>
            <a:endParaRPr lang="en-US" sz="8000" spc="300" dirty="0">
              <a:solidFill>
                <a:schemeClr val="bg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70D884-FA42-4495-A17E-1F4642ADF992}"/>
              </a:ext>
            </a:extLst>
          </p:cNvPr>
          <p:cNvSpPr txBox="1">
            <a:spLocks/>
          </p:cNvSpPr>
          <p:nvPr/>
        </p:nvSpPr>
        <p:spPr>
          <a:xfrm>
            <a:off x="209550" y="1825625"/>
            <a:ext cx="7731868" cy="48287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de-DE" sz="2400" dirty="0"/>
              <a:t>6.2 x 1.7 km groß</a:t>
            </a:r>
          </a:p>
          <a:p>
            <a:pPr>
              <a:lnSpc>
                <a:spcPct val="130000"/>
              </a:lnSpc>
            </a:pPr>
            <a:r>
              <a:rPr lang="de-DE" sz="2400" dirty="0"/>
              <a:t>Durchschnittstemperatur 28 °C bei 64-86 % Luftfeuchtigkei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248673B-6E1B-43C2-A9B9-F8A712B45F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975" y="3036959"/>
            <a:ext cx="7279431" cy="36173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BB21F72-1786-4A4E-873B-78AD3D2FA1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3412" y="2166412"/>
            <a:ext cx="3729038" cy="44307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2391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67A23-862A-E44E-9D83-8BC264A8B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8000" spc="300" dirty="0"/>
              <a:t>Auf </a:t>
            </a:r>
            <a:r>
              <a:rPr lang="en-US" sz="8000" spc="300" dirty="0" err="1"/>
              <a:t>Nach</a:t>
            </a:r>
            <a:r>
              <a:rPr lang="en-US" sz="8000" spc="300" dirty="0"/>
              <a:t> </a:t>
            </a:r>
            <a:r>
              <a:rPr lang="en-US" sz="8000" spc="300" dirty="0" err="1"/>
              <a:t>Saemangeum</a:t>
            </a:r>
            <a:r>
              <a:rPr lang="en-US" sz="8000" spc="300" dirty="0"/>
              <a:t> / Korea 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D46D668-1877-3A4C-BC43-756FE1AED8E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274094"/>
            <a:ext cx="5181600" cy="3454400"/>
          </a:xfrm>
        </p:spPr>
      </p:pic>
      <p:pic>
        <p:nvPicPr>
          <p:cNvPr id="5" name="Inhaltsplatzhalter 5">
            <a:extLst>
              <a:ext uri="{FF2B5EF4-FFF2-40B4-BE49-F238E27FC236}">
                <a16:creationId xmlns:a16="http://schemas.microsoft.com/office/drawing/2014/main" id="{3B648385-F401-8940-A154-F498C6CA499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t="12746" b="14246"/>
          <a:stretch/>
        </p:blipFill>
        <p:spPr>
          <a:xfrm>
            <a:off x="6172200" y="2152434"/>
            <a:ext cx="5181600" cy="3697719"/>
          </a:xfrm>
          <a:custGeom>
            <a:avLst/>
            <a:gdLst/>
            <a:ahLst/>
            <a:cxnLst/>
            <a:rect l="l" t="t" r="r" b="b"/>
            <a:pathLst>
              <a:path w="6096000" h="4350419">
                <a:moveTo>
                  <a:pt x="6096000" y="0"/>
                </a:moveTo>
                <a:lnTo>
                  <a:pt x="6096000" y="4350419"/>
                </a:lnTo>
                <a:lnTo>
                  <a:pt x="0" y="4350419"/>
                </a:lnTo>
                <a:lnTo>
                  <a:pt x="0" y="42055"/>
                </a:lnTo>
                <a:lnTo>
                  <a:pt x="135593" y="42951"/>
                </a:lnTo>
                <a:cubicBezTo>
                  <a:pt x="1366646" y="48664"/>
                  <a:pt x="4319001" y="11938"/>
                  <a:pt x="5996894" y="62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547800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91311-8D59-6141-8E20-F311836FA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MBOREE-PROGRAMM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E852D-7CBD-4943-9DEA-470E1A634E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6224" y="1454050"/>
            <a:ext cx="11249026" cy="4828720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de-DE" sz="2400" dirty="0"/>
              <a:t>Angebote auf dem Platz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Faith &amp; Beliefs: Kennenlernen der Religionen &amp; Spiritualität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Headquarters der Kontingente: Ausstellung, Angebote, Gespräche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Global Development Village: Schwerpunkt Nachhaltigkeit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Aktionsfelder: Sport, Kultur, Technologie, Kunst, Politik, Wissenschaft, </a:t>
            </a:r>
            <a:r>
              <a:rPr lang="de-DE" sz="2000" dirty="0" err="1"/>
              <a:t>Pfadfinderisches</a:t>
            </a:r>
            <a:r>
              <a:rPr lang="de-DE" sz="2000" dirty="0"/>
              <a:t>, …</a:t>
            </a:r>
          </a:p>
          <a:p>
            <a:pPr>
              <a:lnSpc>
                <a:spcPct val="130000"/>
              </a:lnSpc>
            </a:pPr>
            <a:r>
              <a:rPr lang="de-DE" sz="2400" dirty="0"/>
              <a:t>Bühnenveranstaltungen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Opening &amp; Closing </a:t>
            </a:r>
            <a:r>
              <a:rPr lang="de-DE" sz="2000" dirty="0" err="1"/>
              <a:t>Ceremony</a:t>
            </a:r>
            <a:endParaRPr lang="de-DE" sz="2000" dirty="0"/>
          </a:p>
          <a:p>
            <a:pPr lvl="1">
              <a:lnSpc>
                <a:spcPct val="130000"/>
              </a:lnSpc>
            </a:pPr>
            <a:r>
              <a:rPr lang="de-DE" sz="2000" dirty="0" err="1"/>
              <a:t>Campfire</a:t>
            </a:r>
            <a:r>
              <a:rPr lang="de-DE" sz="2000" dirty="0"/>
              <a:t>, open </a:t>
            </a:r>
            <a:r>
              <a:rPr lang="de-DE" sz="2000" dirty="0" err="1"/>
              <a:t>stage</a:t>
            </a:r>
            <a:r>
              <a:rPr lang="de-DE" sz="2000" dirty="0"/>
              <a:t>, Shows in den </a:t>
            </a:r>
            <a:r>
              <a:rPr lang="de-DE" sz="2000" dirty="0" err="1"/>
              <a:t>Subcamps</a:t>
            </a:r>
            <a:endParaRPr lang="de-DE" sz="2400" dirty="0"/>
          </a:p>
          <a:p>
            <a:pPr>
              <a:lnSpc>
                <a:spcPct val="130000"/>
              </a:lnSpc>
            </a:pPr>
            <a:r>
              <a:rPr lang="de-DE" sz="2400" dirty="0"/>
              <a:t>Cultural </a:t>
            </a:r>
            <a:r>
              <a:rPr lang="de-DE" sz="2400" dirty="0" err="1"/>
              <a:t>Celebration</a:t>
            </a:r>
            <a:r>
              <a:rPr lang="de-DE" sz="2400" dirty="0"/>
              <a:t> Day</a:t>
            </a:r>
          </a:p>
          <a:p>
            <a:pPr lvl="1">
              <a:lnSpc>
                <a:spcPct val="130000"/>
              </a:lnSpc>
            </a:pPr>
            <a:r>
              <a:rPr lang="de-DE" sz="2000" dirty="0"/>
              <a:t>Präsentation der Units mit landestypischen Traditionen/Spezialitä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8ED60E3-E214-45B1-A785-0C2142DD19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6887" y="3868410"/>
            <a:ext cx="3524281" cy="2006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73153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7924" y="2390425"/>
            <a:ext cx="5170715" cy="1708307"/>
          </a:xfrm>
        </p:spPr>
        <p:txBody>
          <a:bodyPr>
            <a:normAutofit/>
          </a:bodyPr>
          <a:lstStyle/>
          <a:p>
            <a:pPr algn="ctr"/>
            <a:r>
              <a:rPr lang="en-US" sz="8000" spc="300" dirty="0">
                <a:solidFill>
                  <a:schemeClr val="bg2"/>
                </a:solidFill>
              </a:rPr>
              <a:t>Wie </a:t>
            </a:r>
            <a:r>
              <a:rPr lang="en-US" sz="8000" spc="300" dirty="0" err="1">
                <a:solidFill>
                  <a:schemeClr val="bg2"/>
                </a:solidFill>
              </a:rPr>
              <a:t>geht’s</a:t>
            </a:r>
            <a:r>
              <a:rPr lang="en-US" sz="8000" spc="300" dirty="0">
                <a:solidFill>
                  <a:schemeClr val="bg2"/>
                </a:solidFill>
              </a:rPr>
              <a:t> </a:t>
            </a:r>
            <a:r>
              <a:rPr lang="en-US" sz="8000" spc="300" dirty="0" err="1">
                <a:solidFill>
                  <a:schemeClr val="bg2"/>
                </a:solidFill>
              </a:rPr>
              <a:t>weiter</a:t>
            </a:r>
            <a:endParaRPr lang="en-US" sz="8000" dirty="0">
              <a:solidFill>
                <a:schemeClr val="bg2"/>
              </a:solidFill>
            </a:endParaRP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C5D7F061-412D-D149-85BA-3BB7EC04D8D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5" r="15475"/>
          <a:stretch/>
        </p:blipFill>
        <p:spPr>
          <a:xfrm>
            <a:off x="0" y="0"/>
            <a:ext cx="5966085" cy="6908547"/>
          </a:xfrm>
          <a:prstGeom prst="rect">
            <a:avLst/>
          </a:prstGeom>
        </p:spPr>
      </p:pic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329423DD-0D7A-7F42-BA6D-195AD31A30DA}"/>
              </a:ext>
            </a:extLst>
          </p:cNvPr>
          <p:cNvSpPr txBox="1">
            <a:spLocks/>
          </p:cNvSpPr>
          <p:nvPr/>
        </p:nvSpPr>
        <p:spPr>
          <a:xfrm>
            <a:off x="6808924" y="4277075"/>
            <a:ext cx="4227376" cy="127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>
                <a:solidFill>
                  <a:schemeClr val="tx2"/>
                </a:solidFill>
              </a:rPr>
              <a:t>Anmeldung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Kosten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en-US" dirty="0" err="1">
                <a:solidFill>
                  <a:schemeClr val="tx2"/>
                </a:solidFill>
              </a:rPr>
              <a:t>nächste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Schritte</a:t>
            </a:r>
            <a:r>
              <a:rPr lang="en-US" dirty="0">
                <a:solidFill>
                  <a:schemeClr val="tx2"/>
                </a:solidFill>
              </a:rPr>
              <a:t> &amp; </a:t>
            </a:r>
            <a:r>
              <a:rPr lang="en-US" dirty="0" err="1">
                <a:solidFill>
                  <a:schemeClr val="tx2"/>
                </a:solidFill>
              </a:rPr>
              <a:t>Kommunikationskanälen</a:t>
            </a:r>
            <a:endParaRPr lang="en-US" dirty="0"/>
          </a:p>
          <a:p>
            <a:pPr>
              <a:lnSpc>
                <a:spcPct val="110000"/>
              </a:lnSpc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292691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1ABE2E-DDFA-4AF9-B8A8-5A4CB7955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meld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D6CD0E-5218-4E38-BB84-1E974EB220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6485" y="1690688"/>
            <a:ext cx="10693400" cy="5032375"/>
          </a:xfrm>
        </p:spPr>
        <p:txBody>
          <a:bodyPr>
            <a:normAutofit/>
          </a:bodyPr>
          <a:lstStyle/>
          <a:p>
            <a:r>
              <a:rPr lang="de-DE" dirty="0"/>
              <a:t>noch bis zum 31. Oktober 2021</a:t>
            </a:r>
          </a:p>
          <a:p>
            <a:r>
              <a:rPr lang="de-DE" dirty="0"/>
              <a:t>Ausführliche </a:t>
            </a:r>
            <a:r>
              <a:rPr lang="de-DE" dirty="0" err="1"/>
              <a:t>HowTo</a:t>
            </a:r>
            <a:r>
              <a:rPr lang="de-DE" dirty="0"/>
              <a:t> Anmeldung &amp; FAQ</a:t>
            </a:r>
          </a:p>
          <a:p>
            <a:pPr lvl="1"/>
            <a:r>
              <a:rPr lang="de-DE" dirty="0"/>
              <a:t>Homepage &gt; Info &gt; </a:t>
            </a:r>
            <a:r>
              <a:rPr lang="de-DE" dirty="0" err="1"/>
              <a:t>HowTo</a:t>
            </a:r>
            <a:r>
              <a:rPr lang="de-DE" dirty="0"/>
              <a:t> Anmeldung</a:t>
            </a:r>
          </a:p>
          <a:p>
            <a:pPr lvl="1"/>
            <a:r>
              <a:rPr lang="de-DE" dirty="0"/>
              <a:t>Homepage &gt; Info &gt; FAQ Anmeldung</a:t>
            </a:r>
          </a:p>
          <a:p>
            <a:r>
              <a:rPr lang="de-DE" dirty="0"/>
              <a:t>Registrierung</a:t>
            </a:r>
          </a:p>
          <a:p>
            <a:pPr lvl="1"/>
            <a:r>
              <a:rPr lang="de-DE" dirty="0"/>
              <a:t>Kontakt</a:t>
            </a:r>
          </a:p>
          <a:p>
            <a:pPr lvl="1"/>
            <a:r>
              <a:rPr lang="de-DE" dirty="0"/>
              <a:t>allg. Infos</a:t>
            </a:r>
          </a:p>
          <a:p>
            <a:pPr lvl="1"/>
            <a:r>
              <a:rPr lang="de-DE" dirty="0"/>
              <a:t>Gesundheitsbogen</a:t>
            </a:r>
          </a:p>
          <a:p>
            <a:pPr lvl="1"/>
            <a:r>
              <a:rPr lang="de-DE" dirty="0"/>
              <a:t>SEPA Lastschrift</a:t>
            </a:r>
          </a:p>
          <a:p>
            <a:r>
              <a:rPr lang="de-DE" dirty="0"/>
              <a:t>Anmeldung drucken &amp; unterschreiben</a:t>
            </a:r>
          </a:p>
          <a:p>
            <a:r>
              <a:rPr lang="de-DE" dirty="0"/>
              <a:t>Überprüfung durch Kontingentsteam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E18DCB5-2ECC-41BA-B0A3-6B3EF47A61C5}"/>
              </a:ext>
            </a:extLst>
          </p:cNvPr>
          <p:cNvSpPr txBox="1">
            <a:spLocks/>
          </p:cNvSpPr>
          <p:nvPr/>
        </p:nvSpPr>
        <p:spPr>
          <a:xfrm>
            <a:off x="7353300" y="2772430"/>
            <a:ext cx="5181600" cy="4085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4800" b="1" dirty="0" err="1">
                <a:solidFill>
                  <a:schemeClr val="tx2"/>
                </a:solidFill>
                <a:latin typeface="Cabana" pitchFamily="2" charset="0"/>
              </a:rPr>
              <a:t>Aktueller</a:t>
            </a:r>
            <a:r>
              <a:rPr lang="en-US" sz="4800" b="1" dirty="0">
                <a:solidFill>
                  <a:schemeClr val="tx2"/>
                </a:solidFill>
                <a:latin typeface="Cabana" pitchFamily="2" charset="0"/>
              </a:rPr>
              <a:t> Stand</a:t>
            </a:r>
          </a:p>
          <a:p>
            <a:pPr>
              <a:lnSpc>
                <a:spcPct val="120000"/>
              </a:lnSpc>
            </a:pPr>
            <a:r>
              <a:rPr lang="en-US" sz="2400" dirty="0"/>
              <a:t>920 </a:t>
            </a:r>
            <a:r>
              <a:rPr lang="en-US" sz="2400" dirty="0" err="1"/>
              <a:t>Teilnehmer</a:t>
            </a:r>
            <a:r>
              <a:rPr lang="en-US" sz="2400" dirty="0"/>
              <a:t>*</a:t>
            </a:r>
            <a:r>
              <a:rPr lang="en-US" sz="2400" dirty="0" err="1"/>
              <a:t>innen</a:t>
            </a:r>
            <a:endParaRPr lang="en-US" sz="2400" dirty="0"/>
          </a:p>
          <a:p>
            <a:pPr>
              <a:lnSpc>
                <a:spcPct val="120000"/>
              </a:lnSpc>
            </a:pPr>
            <a:r>
              <a:rPr lang="en-US" sz="2400" dirty="0"/>
              <a:t>206 </a:t>
            </a:r>
            <a:r>
              <a:rPr lang="en-US" sz="2400" dirty="0" err="1"/>
              <a:t>Unitleitungen</a:t>
            </a:r>
            <a:endParaRPr lang="en-US" sz="2400" dirty="0"/>
          </a:p>
          <a:p>
            <a:pPr>
              <a:lnSpc>
                <a:spcPct val="120000"/>
              </a:lnSpc>
            </a:pPr>
            <a:r>
              <a:rPr lang="en-US" sz="2400" dirty="0"/>
              <a:t>156 </a:t>
            </a:r>
            <a:r>
              <a:rPr lang="en-US" sz="2400" i="1" dirty="0"/>
              <a:t>international service team</a:t>
            </a:r>
          </a:p>
          <a:p>
            <a:pPr>
              <a:lnSpc>
                <a:spcPct val="120000"/>
              </a:lnSpc>
            </a:pPr>
            <a:r>
              <a:rPr lang="en-US" sz="2400" dirty="0"/>
              <a:t>47 </a:t>
            </a:r>
            <a:r>
              <a:rPr lang="en-US" sz="2400" dirty="0" err="1"/>
              <a:t>Kontingentstea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04395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1ABE2E-DDFA-4AF9-B8A8-5A4CB7955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ulbefreiung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D6CD0E-5218-4E38-BB84-1E974EB220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6099" y="2141537"/>
            <a:ext cx="10274301" cy="4351338"/>
          </a:xfrm>
        </p:spPr>
        <p:txBody>
          <a:bodyPr/>
          <a:lstStyle/>
          <a:p>
            <a:r>
              <a:rPr lang="de-DE" dirty="0"/>
              <a:t>je nach Bundesland liegt die Jamboree-Reise noch/wieder in der Schulzeit (insb. Bayern und NRW!)</a:t>
            </a:r>
          </a:p>
          <a:p>
            <a:pPr lvl="1"/>
            <a:r>
              <a:rPr lang="de-DE" dirty="0"/>
              <a:t>Nord-Osten: eher </a:t>
            </a:r>
            <a:r>
              <a:rPr lang="de-DE" dirty="0" err="1"/>
              <a:t>Vortour</a:t>
            </a:r>
            <a:endParaRPr lang="de-DE" dirty="0"/>
          </a:p>
          <a:p>
            <a:pPr lvl="1"/>
            <a:r>
              <a:rPr lang="de-DE" dirty="0"/>
              <a:t>Süd-Westen: eher </a:t>
            </a:r>
            <a:r>
              <a:rPr lang="de-DE" dirty="0" err="1"/>
              <a:t>Nachtour</a:t>
            </a:r>
            <a:endParaRPr lang="de-DE" dirty="0"/>
          </a:p>
          <a:p>
            <a:pPr marL="457200" lvl="1" indent="0">
              <a:buNone/>
            </a:pPr>
            <a:r>
              <a:rPr lang="de-DE" dirty="0"/>
              <a:t>=&gt; Vor- oder </a:t>
            </a:r>
            <a:r>
              <a:rPr lang="de-DE" dirty="0" err="1"/>
              <a:t>Nachtour</a:t>
            </a:r>
            <a:r>
              <a:rPr lang="de-DE" dirty="0"/>
              <a:t> basierend auf Bundesland</a:t>
            </a:r>
          </a:p>
          <a:p>
            <a:r>
              <a:rPr lang="de-DE" dirty="0"/>
              <a:t>aus Erfahrung: Schulbefreiung wird gestattet</a:t>
            </a:r>
          </a:p>
          <a:p>
            <a:r>
              <a:rPr lang="de-DE" dirty="0"/>
              <a:t>Freistellungs-Vorlage und Lehrer*innen im Kontingentsteam</a:t>
            </a:r>
          </a:p>
        </p:txBody>
      </p:sp>
    </p:spTree>
    <p:extLst>
      <p:ext uri="{BB962C8B-B14F-4D97-AF65-F5344CB8AC3E}">
        <p14:creationId xmlns:p14="http://schemas.microsoft.com/office/powerpoint/2010/main" val="42276738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ABE5E-A852-534C-A694-8ED03FD1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inanziel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D8BED28-8124-6948-9D39-FE09DD2372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24"/>
          <a:stretch/>
        </p:blipFill>
        <p:spPr>
          <a:xfrm>
            <a:off x="160629" y="1690688"/>
            <a:ext cx="11337342" cy="243291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DAC5988-AF08-4C0A-AEBD-D4A613920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925" y="4533834"/>
            <a:ext cx="9582150" cy="2036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813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688FC8CE-6D58-4AD5-BAE1-DD03CBC9A115}"/>
              </a:ext>
            </a:extLst>
          </p:cNvPr>
          <p:cNvGrpSpPr>
            <a:grpSpLocks noChangeAspect="1"/>
          </p:cNvGrpSpPr>
          <p:nvPr/>
        </p:nvGrpSpPr>
        <p:grpSpPr>
          <a:xfrm>
            <a:off x="4378465" y="1493386"/>
            <a:ext cx="2520626" cy="5142365"/>
            <a:chOff x="1417195" y="189966"/>
            <a:chExt cx="3233595" cy="6596902"/>
          </a:xfrm>
        </p:grpSpPr>
        <p:sp>
          <p:nvSpPr>
            <p:cNvPr id="62" name="Füllung Frau">
              <a:extLst>
                <a:ext uri="{FF2B5EF4-FFF2-40B4-BE49-F238E27FC236}">
                  <a16:creationId xmlns:a16="http://schemas.microsoft.com/office/drawing/2014/main" id="{68587796-3DED-4E18-9BE7-1C32F8929DA2}"/>
                </a:ext>
              </a:extLst>
            </p:cNvPr>
            <p:cNvSpPr/>
            <p:nvPr/>
          </p:nvSpPr>
          <p:spPr>
            <a:xfrm>
              <a:off x="1667888" y="839755"/>
              <a:ext cx="2880000" cy="45719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3" name="Füllung Frau">
              <a:extLst>
                <a:ext uri="{FF2B5EF4-FFF2-40B4-BE49-F238E27FC236}">
                  <a16:creationId xmlns:a16="http://schemas.microsoft.com/office/drawing/2014/main" id="{3788AE67-AF7F-4FC3-ACFA-AF60178FCA9F}"/>
                </a:ext>
              </a:extLst>
            </p:cNvPr>
            <p:cNvSpPr/>
            <p:nvPr/>
          </p:nvSpPr>
          <p:spPr>
            <a:xfrm>
              <a:off x="1660531" y="6175204"/>
              <a:ext cx="2880000" cy="361810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4" name="Füllung Frau">
              <a:extLst>
                <a:ext uri="{FF2B5EF4-FFF2-40B4-BE49-F238E27FC236}">
                  <a16:creationId xmlns:a16="http://schemas.microsoft.com/office/drawing/2014/main" id="{18B8A73E-41E5-4C57-ABC6-74B6AEB42FF8}"/>
                </a:ext>
              </a:extLst>
            </p:cNvPr>
            <p:cNvSpPr/>
            <p:nvPr/>
          </p:nvSpPr>
          <p:spPr>
            <a:xfrm>
              <a:off x="1666806" y="885474"/>
              <a:ext cx="2880000" cy="72871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5" name="Füllung Frau">
              <a:extLst>
                <a:ext uri="{FF2B5EF4-FFF2-40B4-BE49-F238E27FC236}">
                  <a16:creationId xmlns:a16="http://schemas.microsoft.com/office/drawing/2014/main" id="{6EE81BF1-6836-4708-91BC-08FC9575D2C4}"/>
                </a:ext>
              </a:extLst>
            </p:cNvPr>
            <p:cNvSpPr/>
            <p:nvPr/>
          </p:nvSpPr>
          <p:spPr>
            <a:xfrm>
              <a:off x="1673268" y="379995"/>
              <a:ext cx="2880000" cy="4597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6" name="Füllung Frau">
              <a:extLst>
                <a:ext uri="{FF2B5EF4-FFF2-40B4-BE49-F238E27FC236}">
                  <a16:creationId xmlns:a16="http://schemas.microsoft.com/office/drawing/2014/main" id="{FC553851-0EF1-4AD6-A640-575B5F64DDDC}"/>
                </a:ext>
              </a:extLst>
            </p:cNvPr>
            <p:cNvSpPr/>
            <p:nvPr/>
          </p:nvSpPr>
          <p:spPr>
            <a:xfrm>
              <a:off x="1660529" y="3989631"/>
              <a:ext cx="2880000" cy="407574"/>
            </a:xfrm>
            <a:prstGeom prst="rect">
              <a:avLst/>
            </a:prstGeom>
            <a:solidFill>
              <a:srgbClr val="500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7" name="Füllung Frau">
              <a:extLst>
                <a:ext uri="{FF2B5EF4-FFF2-40B4-BE49-F238E27FC236}">
                  <a16:creationId xmlns:a16="http://schemas.microsoft.com/office/drawing/2014/main" id="{490E963A-F087-48D6-BA8D-C6939C990979}"/>
                </a:ext>
              </a:extLst>
            </p:cNvPr>
            <p:cNvSpPr/>
            <p:nvPr/>
          </p:nvSpPr>
          <p:spPr>
            <a:xfrm>
              <a:off x="1673268" y="1614189"/>
              <a:ext cx="2880000" cy="2381371"/>
            </a:xfrm>
            <a:prstGeom prst="rect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8" name="Füllung Frau">
              <a:extLst>
                <a:ext uri="{FF2B5EF4-FFF2-40B4-BE49-F238E27FC236}">
                  <a16:creationId xmlns:a16="http://schemas.microsoft.com/office/drawing/2014/main" id="{E28C3F8D-CCE8-4DF3-AE2B-CF7B3E7840D1}"/>
                </a:ext>
              </a:extLst>
            </p:cNvPr>
            <p:cNvSpPr/>
            <p:nvPr/>
          </p:nvSpPr>
          <p:spPr>
            <a:xfrm>
              <a:off x="1660529" y="4391198"/>
              <a:ext cx="2880000" cy="249318"/>
            </a:xfrm>
            <a:prstGeom prst="rect">
              <a:avLst/>
            </a:prstGeom>
            <a:solidFill>
              <a:srgbClr val="FE83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69" name="Füllung Frau">
              <a:extLst>
                <a:ext uri="{FF2B5EF4-FFF2-40B4-BE49-F238E27FC236}">
                  <a16:creationId xmlns:a16="http://schemas.microsoft.com/office/drawing/2014/main" id="{DB9D5251-777D-4360-9EB7-2287EF137602}"/>
                </a:ext>
              </a:extLst>
            </p:cNvPr>
            <p:cNvSpPr/>
            <p:nvPr/>
          </p:nvSpPr>
          <p:spPr>
            <a:xfrm>
              <a:off x="1660530" y="4637529"/>
              <a:ext cx="2880000" cy="1561310"/>
            </a:xfrm>
            <a:prstGeom prst="rect">
              <a:avLst/>
            </a:prstGeom>
            <a:solidFill>
              <a:srgbClr val="00AF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A769774-D187-4E03-806A-05B64FFA35BE}"/>
                </a:ext>
              </a:extLst>
            </p:cNvPr>
            <p:cNvSpPr/>
            <p:nvPr/>
          </p:nvSpPr>
          <p:spPr>
            <a:xfrm>
              <a:off x="1417195" y="189966"/>
              <a:ext cx="3233595" cy="6596902"/>
            </a:xfrm>
            <a:custGeom>
              <a:avLst/>
              <a:gdLst>
                <a:gd name="connsiteX0" fmla="*/ 619797 w 3233595"/>
                <a:gd name="connsiteY0" fmla="*/ 1672636 h 6596902"/>
                <a:gd name="connsiteX1" fmla="*/ 253165 w 3233595"/>
                <a:gd name="connsiteY1" fmla="*/ 2039268 h 6596902"/>
                <a:gd name="connsiteX2" fmla="*/ 253165 w 3233595"/>
                <a:gd name="connsiteY2" fmla="*/ 2090189 h 6596902"/>
                <a:gd name="connsiteX3" fmla="*/ 253165 w 3233595"/>
                <a:gd name="connsiteY3" fmla="*/ 2405898 h 6596902"/>
                <a:gd name="connsiteX4" fmla="*/ 253165 w 3233595"/>
                <a:gd name="connsiteY4" fmla="*/ 3872424 h 6596902"/>
                <a:gd name="connsiteX5" fmla="*/ 528139 w 3233595"/>
                <a:gd name="connsiteY5" fmla="*/ 4147399 h 6596902"/>
                <a:gd name="connsiteX6" fmla="*/ 528138 w 3233595"/>
                <a:gd name="connsiteY6" fmla="*/ 4147400 h 6596902"/>
                <a:gd name="connsiteX7" fmla="*/ 803113 w 3233595"/>
                <a:gd name="connsiteY7" fmla="*/ 3872425 h 6596902"/>
                <a:gd name="connsiteX8" fmla="*/ 803114 w 3233595"/>
                <a:gd name="connsiteY8" fmla="*/ 2405898 h 6596902"/>
                <a:gd name="connsiteX9" fmla="*/ 901134 w 3233595"/>
                <a:gd name="connsiteY9" fmla="*/ 2405898 h 6596902"/>
                <a:gd name="connsiteX10" fmla="*/ 901134 w 3233595"/>
                <a:gd name="connsiteY10" fmla="*/ 4371451 h 6596902"/>
                <a:gd name="connsiteX11" fmla="*/ 901134 w 3233595"/>
                <a:gd name="connsiteY11" fmla="*/ 4524214 h 6596902"/>
                <a:gd name="connsiteX12" fmla="*/ 901134 w 3233595"/>
                <a:gd name="connsiteY12" fmla="*/ 6031476 h 6596902"/>
                <a:gd name="connsiteX13" fmla="*/ 1237214 w 3233595"/>
                <a:gd name="connsiteY13" fmla="*/ 6367555 h 6596902"/>
                <a:gd name="connsiteX14" fmla="*/ 1573294 w 3233595"/>
                <a:gd name="connsiteY14" fmla="*/ 6031476 h 6596902"/>
                <a:gd name="connsiteX15" fmla="*/ 1573294 w 3233595"/>
                <a:gd name="connsiteY15" fmla="*/ 4524214 h 6596902"/>
                <a:gd name="connsiteX16" fmla="*/ 1624214 w 3233595"/>
                <a:gd name="connsiteY16" fmla="*/ 4524214 h 6596902"/>
                <a:gd name="connsiteX17" fmla="*/ 1624214 w 3233595"/>
                <a:gd name="connsiteY17" fmla="*/ 5473891 h 6596902"/>
                <a:gd name="connsiteX18" fmla="*/ 1792891 w 3233595"/>
                <a:gd name="connsiteY18" fmla="*/ 5473891 h 6596902"/>
                <a:gd name="connsiteX19" fmla="*/ 1792891 w 3233595"/>
                <a:gd name="connsiteY19" fmla="*/ 6092581 h 6596902"/>
                <a:gd name="connsiteX20" fmla="*/ 2067865 w 3233595"/>
                <a:gd name="connsiteY20" fmla="*/ 6367555 h 6596902"/>
                <a:gd name="connsiteX21" fmla="*/ 2067864 w 3233595"/>
                <a:gd name="connsiteY21" fmla="*/ 6367556 h 6596902"/>
                <a:gd name="connsiteX22" fmla="*/ 2342839 w 3233595"/>
                <a:gd name="connsiteY22" fmla="*/ 6092582 h 6596902"/>
                <a:gd name="connsiteX23" fmla="*/ 2342839 w 3233595"/>
                <a:gd name="connsiteY23" fmla="*/ 5473891 h 6596902"/>
                <a:gd name="connsiteX24" fmla="*/ 3079919 w 3233595"/>
                <a:gd name="connsiteY24" fmla="*/ 5473891 h 6596902"/>
                <a:gd name="connsiteX25" fmla="*/ 2342839 w 3233595"/>
                <a:gd name="connsiteY25" fmla="*/ 3814726 h 6596902"/>
                <a:gd name="connsiteX26" fmla="*/ 2342839 w 3233595"/>
                <a:gd name="connsiteY26" fmla="*/ 2405898 h 6596902"/>
                <a:gd name="connsiteX27" fmla="*/ 2440861 w 3233595"/>
                <a:gd name="connsiteY27" fmla="*/ 2405898 h 6596902"/>
                <a:gd name="connsiteX28" fmla="*/ 2440861 w 3233595"/>
                <a:gd name="connsiteY28" fmla="*/ 3872424 h 6596902"/>
                <a:gd name="connsiteX29" fmla="*/ 2715836 w 3233595"/>
                <a:gd name="connsiteY29" fmla="*/ 4147399 h 6596902"/>
                <a:gd name="connsiteX30" fmla="*/ 2715835 w 3233595"/>
                <a:gd name="connsiteY30" fmla="*/ 4147400 h 6596902"/>
                <a:gd name="connsiteX31" fmla="*/ 2990809 w 3233595"/>
                <a:gd name="connsiteY31" fmla="*/ 3872425 h 6596902"/>
                <a:gd name="connsiteX32" fmla="*/ 2990809 w 3233595"/>
                <a:gd name="connsiteY32" fmla="*/ 2090189 h 6596902"/>
                <a:gd name="connsiteX33" fmla="*/ 2990809 w 3233595"/>
                <a:gd name="connsiteY33" fmla="*/ 2090188 h 6596902"/>
                <a:gd name="connsiteX34" fmla="*/ 2990809 w 3233595"/>
                <a:gd name="connsiteY34" fmla="*/ 2039268 h 6596902"/>
                <a:gd name="connsiteX35" fmla="*/ 2624178 w 3233595"/>
                <a:gd name="connsiteY35" fmla="*/ 1672637 h 6596902"/>
                <a:gd name="connsiteX36" fmla="*/ 1624214 w 3233595"/>
                <a:gd name="connsiteY36" fmla="*/ 1672637 h 6596902"/>
                <a:gd name="connsiteX37" fmla="*/ 1624214 w 3233595"/>
                <a:gd name="connsiteY37" fmla="*/ 1672636 h 6596902"/>
                <a:gd name="connsiteX38" fmla="*/ 1618167 w 3233595"/>
                <a:gd name="connsiteY38" fmla="*/ 216295 h 6596902"/>
                <a:gd name="connsiteX39" fmla="*/ 972424 w 3233595"/>
                <a:gd name="connsiteY39" fmla="*/ 862038 h 6596902"/>
                <a:gd name="connsiteX40" fmla="*/ 1618167 w 3233595"/>
                <a:gd name="connsiteY40" fmla="*/ 1507780 h 6596902"/>
                <a:gd name="connsiteX41" fmla="*/ 1624214 w 3233595"/>
                <a:gd name="connsiteY41" fmla="*/ 1507170 h 6596902"/>
                <a:gd name="connsiteX42" fmla="*/ 1624214 w 3233595"/>
                <a:gd name="connsiteY42" fmla="*/ 1506722 h 6596902"/>
                <a:gd name="connsiteX43" fmla="*/ 1743852 w 3233595"/>
                <a:gd name="connsiteY43" fmla="*/ 1494662 h 6596902"/>
                <a:gd name="connsiteX44" fmla="*/ 2259455 w 3233595"/>
                <a:gd name="connsiteY44" fmla="*/ 862038 h 6596902"/>
                <a:gd name="connsiteX45" fmla="*/ 1743852 w 3233595"/>
                <a:gd name="connsiteY45" fmla="*/ 229416 h 6596902"/>
                <a:gd name="connsiteX46" fmla="*/ 1624214 w 3233595"/>
                <a:gd name="connsiteY46" fmla="*/ 217355 h 6596902"/>
                <a:gd name="connsiteX47" fmla="*/ 1624214 w 3233595"/>
                <a:gd name="connsiteY47" fmla="*/ 216905 h 6596902"/>
                <a:gd name="connsiteX48" fmla="*/ 0 w 3233595"/>
                <a:gd name="connsiteY48" fmla="*/ 0 h 6596902"/>
                <a:gd name="connsiteX49" fmla="*/ 3233595 w 3233595"/>
                <a:gd name="connsiteY49" fmla="*/ 0 h 6596902"/>
                <a:gd name="connsiteX50" fmla="*/ 3233595 w 3233595"/>
                <a:gd name="connsiteY50" fmla="*/ 6596902 h 6596902"/>
                <a:gd name="connsiteX51" fmla="*/ 0 w 3233595"/>
                <a:gd name="connsiteY51" fmla="*/ 6596902 h 65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233595" h="6596902">
                  <a:moveTo>
                    <a:pt x="619797" y="1672636"/>
                  </a:moveTo>
                  <a:cubicBezTo>
                    <a:pt x="417312" y="1672636"/>
                    <a:pt x="253165" y="1836784"/>
                    <a:pt x="253165" y="2039268"/>
                  </a:cubicBezTo>
                  <a:lnTo>
                    <a:pt x="253165" y="2090189"/>
                  </a:lnTo>
                  <a:lnTo>
                    <a:pt x="253165" y="2405898"/>
                  </a:lnTo>
                  <a:lnTo>
                    <a:pt x="253165" y="3872424"/>
                  </a:lnTo>
                  <a:cubicBezTo>
                    <a:pt x="253165" y="4024288"/>
                    <a:pt x="376276" y="4147399"/>
                    <a:pt x="528139" y="4147399"/>
                  </a:cubicBezTo>
                  <a:lnTo>
                    <a:pt x="528138" y="4147400"/>
                  </a:lnTo>
                  <a:cubicBezTo>
                    <a:pt x="680002" y="4147400"/>
                    <a:pt x="803113" y="4024289"/>
                    <a:pt x="803113" y="3872425"/>
                  </a:cubicBezTo>
                  <a:lnTo>
                    <a:pt x="803114" y="2405898"/>
                  </a:lnTo>
                  <a:lnTo>
                    <a:pt x="901134" y="2405898"/>
                  </a:lnTo>
                  <a:lnTo>
                    <a:pt x="901134" y="4371451"/>
                  </a:lnTo>
                  <a:lnTo>
                    <a:pt x="901134" y="4524214"/>
                  </a:lnTo>
                  <a:lnTo>
                    <a:pt x="901134" y="6031476"/>
                  </a:lnTo>
                  <a:cubicBezTo>
                    <a:pt x="901134" y="6217087"/>
                    <a:pt x="1051602" y="6367555"/>
                    <a:pt x="1237214" y="6367555"/>
                  </a:cubicBezTo>
                  <a:cubicBezTo>
                    <a:pt x="1422826" y="6367555"/>
                    <a:pt x="1573294" y="6217087"/>
                    <a:pt x="1573294" y="6031476"/>
                  </a:cubicBezTo>
                  <a:lnTo>
                    <a:pt x="1573294" y="4524214"/>
                  </a:lnTo>
                  <a:lnTo>
                    <a:pt x="1624214" y="4524214"/>
                  </a:lnTo>
                  <a:lnTo>
                    <a:pt x="1624214" y="5473891"/>
                  </a:lnTo>
                  <a:lnTo>
                    <a:pt x="1792891" y="5473891"/>
                  </a:lnTo>
                  <a:lnTo>
                    <a:pt x="1792891" y="6092581"/>
                  </a:lnTo>
                  <a:cubicBezTo>
                    <a:pt x="1792891" y="6244445"/>
                    <a:pt x="1916002" y="6367555"/>
                    <a:pt x="2067865" y="6367555"/>
                  </a:cubicBezTo>
                  <a:lnTo>
                    <a:pt x="2067864" y="6367556"/>
                  </a:lnTo>
                  <a:cubicBezTo>
                    <a:pt x="2219728" y="6367556"/>
                    <a:pt x="2342839" y="6244446"/>
                    <a:pt x="2342839" y="6092582"/>
                  </a:cubicBezTo>
                  <a:lnTo>
                    <a:pt x="2342839" y="5473891"/>
                  </a:lnTo>
                  <a:lnTo>
                    <a:pt x="3079919" y="5473891"/>
                  </a:lnTo>
                  <a:lnTo>
                    <a:pt x="2342839" y="3814726"/>
                  </a:lnTo>
                  <a:lnTo>
                    <a:pt x="2342839" y="2405898"/>
                  </a:lnTo>
                  <a:lnTo>
                    <a:pt x="2440861" y="2405898"/>
                  </a:lnTo>
                  <a:lnTo>
                    <a:pt x="2440861" y="3872424"/>
                  </a:lnTo>
                  <a:cubicBezTo>
                    <a:pt x="2440861" y="4024288"/>
                    <a:pt x="2563972" y="4147399"/>
                    <a:pt x="2715836" y="4147399"/>
                  </a:cubicBezTo>
                  <a:lnTo>
                    <a:pt x="2715835" y="4147400"/>
                  </a:lnTo>
                  <a:cubicBezTo>
                    <a:pt x="2867698" y="4147400"/>
                    <a:pt x="2990809" y="4024289"/>
                    <a:pt x="2990809" y="3872425"/>
                  </a:cubicBezTo>
                  <a:cubicBezTo>
                    <a:pt x="2990809" y="3278346"/>
                    <a:pt x="2990809" y="2684268"/>
                    <a:pt x="2990809" y="2090189"/>
                  </a:cubicBezTo>
                  <a:lnTo>
                    <a:pt x="2990809" y="2090188"/>
                  </a:lnTo>
                  <a:lnTo>
                    <a:pt x="2990809" y="2039268"/>
                  </a:lnTo>
                  <a:cubicBezTo>
                    <a:pt x="2990809" y="1836784"/>
                    <a:pt x="2826663" y="1672637"/>
                    <a:pt x="2624178" y="1672637"/>
                  </a:cubicBezTo>
                  <a:lnTo>
                    <a:pt x="1624214" y="1672637"/>
                  </a:lnTo>
                  <a:lnTo>
                    <a:pt x="1624214" y="1672636"/>
                  </a:lnTo>
                  <a:close/>
                  <a:moveTo>
                    <a:pt x="1618167" y="216295"/>
                  </a:moveTo>
                  <a:cubicBezTo>
                    <a:pt x="1261532" y="216295"/>
                    <a:pt x="972424" y="505403"/>
                    <a:pt x="972424" y="862038"/>
                  </a:cubicBezTo>
                  <a:cubicBezTo>
                    <a:pt x="972424" y="1218673"/>
                    <a:pt x="1261532" y="1507780"/>
                    <a:pt x="1618167" y="1507780"/>
                  </a:cubicBezTo>
                  <a:lnTo>
                    <a:pt x="1624214" y="1507170"/>
                  </a:lnTo>
                  <a:lnTo>
                    <a:pt x="1624214" y="1506722"/>
                  </a:lnTo>
                  <a:lnTo>
                    <a:pt x="1743852" y="1494662"/>
                  </a:lnTo>
                  <a:cubicBezTo>
                    <a:pt x="2038106" y="1434449"/>
                    <a:pt x="2259455" y="1174094"/>
                    <a:pt x="2259455" y="862038"/>
                  </a:cubicBezTo>
                  <a:cubicBezTo>
                    <a:pt x="2259455" y="549984"/>
                    <a:pt x="2038106" y="289629"/>
                    <a:pt x="1743852" y="229416"/>
                  </a:cubicBezTo>
                  <a:lnTo>
                    <a:pt x="1624214" y="217355"/>
                  </a:lnTo>
                  <a:lnTo>
                    <a:pt x="1624214" y="216905"/>
                  </a:lnTo>
                  <a:close/>
                  <a:moveTo>
                    <a:pt x="0" y="0"/>
                  </a:moveTo>
                  <a:lnTo>
                    <a:pt x="3233595" y="0"/>
                  </a:lnTo>
                  <a:lnTo>
                    <a:pt x="3233595" y="6596902"/>
                  </a:lnTo>
                  <a:lnTo>
                    <a:pt x="0" y="6596902"/>
                  </a:lnTo>
                  <a:close/>
                </a:path>
              </a:pathLst>
            </a:custGeom>
            <a:solidFill>
              <a:srgbClr val="75A4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x-none"/>
            </a:p>
          </p:txBody>
        </p:sp>
      </p:grpSp>
      <p:sp>
        <p:nvSpPr>
          <p:cNvPr id="33" name="Titel 1">
            <a:extLst>
              <a:ext uri="{FF2B5EF4-FFF2-40B4-BE49-F238E27FC236}">
                <a16:creationId xmlns:a16="http://schemas.microsoft.com/office/drawing/2014/main" id="{7291FC5C-39B5-4686-B2FC-CD79C54EEA66}"/>
              </a:ext>
            </a:extLst>
          </p:cNvPr>
          <p:cNvSpPr txBox="1">
            <a:spLocks/>
          </p:cNvSpPr>
          <p:nvPr/>
        </p:nvSpPr>
        <p:spPr>
          <a:xfrm>
            <a:off x="720000" y="528320"/>
            <a:ext cx="8942160" cy="109727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spc="100" baseline="0">
                <a:solidFill>
                  <a:srgbClr val="733D8B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r>
              <a:rPr lang="de-DE" sz="8000" dirty="0">
                <a:solidFill>
                  <a:srgbClr val="FFFFFF"/>
                </a:solidFill>
              </a:rPr>
              <a:t>Gläserne*</a:t>
            </a:r>
            <a:r>
              <a:rPr lang="de-DE" sz="8000" dirty="0" err="1">
                <a:solidFill>
                  <a:srgbClr val="FFFFFF"/>
                </a:solidFill>
              </a:rPr>
              <a:t>r</a:t>
            </a:r>
            <a:r>
              <a:rPr lang="de-DE" sz="8000" dirty="0">
                <a:solidFill>
                  <a:srgbClr val="FFFFFF"/>
                </a:solidFill>
              </a:rPr>
              <a:t> Teilnehmer*in</a:t>
            </a:r>
            <a:endParaRPr lang="en-US" sz="8000" spc="300" dirty="0">
              <a:solidFill>
                <a:srgbClr val="FFFFFF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B281E81-9C19-4FF8-B52D-9E9385BEE96A}"/>
              </a:ext>
            </a:extLst>
          </p:cNvPr>
          <p:cNvGrpSpPr/>
          <p:nvPr/>
        </p:nvGrpSpPr>
        <p:grpSpPr>
          <a:xfrm>
            <a:off x="878747" y="1799829"/>
            <a:ext cx="3152862" cy="4615982"/>
            <a:chOff x="2889437" y="1527211"/>
            <a:chExt cx="3152862" cy="5066911"/>
          </a:xfrm>
        </p:grpSpPr>
        <p:sp>
          <p:nvSpPr>
            <p:cNvPr id="35" name="Füllung Frau">
              <a:extLst>
                <a:ext uri="{FF2B5EF4-FFF2-40B4-BE49-F238E27FC236}">
                  <a16:creationId xmlns:a16="http://schemas.microsoft.com/office/drawing/2014/main" id="{6079DEDD-6EB0-4493-A5F7-ABE2BE4A1E70}"/>
                </a:ext>
              </a:extLst>
            </p:cNvPr>
            <p:cNvSpPr/>
            <p:nvPr/>
          </p:nvSpPr>
          <p:spPr>
            <a:xfrm>
              <a:off x="2889437" y="5407051"/>
              <a:ext cx="2880000" cy="540000"/>
            </a:xfrm>
            <a:prstGeom prst="rect">
              <a:avLst/>
            </a:prstGeom>
            <a:solidFill>
              <a:srgbClr val="00AF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Jamboree und Ausrüstung</a:t>
              </a:r>
              <a:endParaRPr lang="x-none" sz="1100" dirty="0">
                <a:solidFill>
                  <a:srgbClr val="733D8B"/>
                </a:solidFill>
              </a:endParaRPr>
            </a:p>
          </p:txBody>
        </p:sp>
        <p:sp>
          <p:nvSpPr>
            <p:cNvPr id="37" name="Füllung Frau">
              <a:extLst>
                <a:ext uri="{FF2B5EF4-FFF2-40B4-BE49-F238E27FC236}">
                  <a16:creationId xmlns:a16="http://schemas.microsoft.com/office/drawing/2014/main" id="{2168539C-AC1F-44B4-98EE-9A45D63686E1}"/>
                </a:ext>
              </a:extLst>
            </p:cNvPr>
            <p:cNvSpPr/>
            <p:nvPr/>
          </p:nvSpPr>
          <p:spPr>
            <a:xfrm>
              <a:off x="2889437" y="2185043"/>
              <a:ext cx="2880000" cy="540000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dien</a:t>
              </a:r>
              <a:endParaRPr lang="x-none" sz="1100" dirty="0">
                <a:solidFill>
                  <a:srgbClr val="017475"/>
                </a:solidFill>
              </a:endParaRPr>
            </a:p>
          </p:txBody>
        </p:sp>
        <p:sp>
          <p:nvSpPr>
            <p:cNvPr id="38" name="Füllung Frau">
              <a:extLst>
                <a:ext uri="{FF2B5EF4-FFF2-40B4-BE49-F238E27FC236}">
                  <a16:creationId xmlns:a16="http://schemas.microsoft.com/office/drawing/2014/main" id="{C2CEDC59-5D82-4E91-AA0D-A759B33E1061}"/>
                </a:ext>
              </a:extLst>
            </p:cNvPr>
            <p:cNvSpPr/>
            <p:nvPr/>
          </p:nvSpPr>
          <p:spPr>
            <a:xfrm>
              <a:off x="2891151" y="6054122"/>
              <a:ext cx="2880000" cy="540000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Kontingent, Verwaltung</a:t>
              </a:r>
              <a:endParaRPr lang="x-none" sz="1100" dirty="0">
                <a:solidFill>
                  <a:schemeClr val="bg1"/>
                </a:solidFill>
              </a:endParaRPr>
            </a:p>
          </p:txBody>
        </p:sp>
        <p:sp>
          <p:nvSpPr>
            <p:cNvPr id="39" name="Füllung Frau">
              <a:extLst>
                <a:ext uri="{FF2B5EF4-FFF2-40B4-BE49-F238E27FC236}">
                  <a16:creationId xmlns:a16="http://schemas.microsoft.com/office/drawing/2014/main" id="{7D568FA3-108D-4426-9CE1-C1EE16EFC2F8}"/>
                </a:ext>
              </a:extLst>
            </p:cNvPr>
            <p:cNvSpPr/>
            <p:nvPr/>
          </p:nvSpPr>
          <p:spPr>
            <a:xfrm>
              <a:off x="2891149" y="2824586"/>
              <a:ext cx="2880000" cy="54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etreuung (inkl. Tour)</a:t>
              </a:r>
            </a:p>
          </p:txBody>
        </p:sp>
        <p:sp>
          <p:nvSpPr>
            <p:cNvPr id="40" name="Füllung Frau">
              <a:extLst>
                <a:ext uri="{FF2B5EF4-FFF2-40B4-BE49-F238E27FC236}">
                  <a16:creationId xmlns:a16="http://schemas.microsoft.com/office/drawing/2014/main" id="{C20B1403-DDC8-4549-88A0-CD5318842772}"/>
                </a:ext>
              </a:extLst>
            </p:cNvPr>
            <p:cNvSpPr/>
            <p:nvPr/>
          </p:nvSpPr>
          <p:spPr>
            <a:xfrm>
              <a:off x="2889437" y="1528351"/>
              <a:ext cx="2880000" cy="5400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Risikovorsorge</a:t>
              </a:r>
              <a:endParaRPr lang="x-none" sz="1100" dirty="0">
                <a:solidFill>
                  <a:schemeClr val="bg1"/>
                </a:solidFill>
              </a:endParaRPr>
            </a:p>
          </p:txBody>
        </p:sp>
        <p:sp>
          <p:nvSpPr>
            <p:cNvPr id="42" name="Füllung Frau">
              <a:extLst>
                <a:ext uri="{FF2B5EF4-FFF2-40B4-BE49-F238E27FC236}">
                  <a16:creationId xmlns:a16="http://schemas.microsoft.com/office/drawing/2014/main" id="{D45A83F3-61AA-44BF-ADC9-A16B09A5A50E}"/>
                </a:ext>
              </a:extLst>
            </p:cNvPr>
            <p:cNvSpPr/>
            <p:nvPr/>
          </p:nvSpPr>
          <p:spPr>
            <a:xfrm>
              <a:off x="2889437" y="4115584"/>
              <a:ext cx="2880000" cy="540000"/>
            </a:xfrm>
            <a:prstGeom prst="rect">
              <a:avLst/>
            </a:prstGeom>
            <a:solidFill>
              <a:srgbClr val="500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Programm (inkl. </a:t>
              </a:r>
              <a:r>
                <a:rPr lang="de-DE" sz="1100" b="0" i="0" u="none" strike="noStrike" dirty="0" err="1"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Foodhouse</a:t>
              </a:r>
              <a:r>
                <a:rPr lang="de-DE" sz="1100" b="0" i="0" u="none" strike="noStrike" dirty="0"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)</a:t>
              </a:r>
            </a:p>
          </p:txBody>
        </p:sp>
        <p:sp>
          <p:nvSpPr>
            <p:cNvPr id="44" name="Füllung Frau">
              <a:extLst>
                <a:ext uri="{FF2B5EF4-FFF2-40B4-BE49-F238E27FC236}">
                  <a16:creationId xmlns:a16="http://schemas.microsoft.com/office/drawing/2014/main" id="{54F76602-D35A-4F1C-B958-797C71F7C2DD}"/>
                </a:ext>
              </a:extLst>
            </p:cNvPr>
            <p:cNvSpPr/>
            <p:nvPr/>
          </p:nvSpPr>
          <p:spPr>
            <a:xfrm>
              <a:off x="2889437" y="3475216"/>
              <a:ext cx="2880000" cy="540000"/>
            </a:xfrm>
            <a:prstGeom prst="rect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Logistik (inkl. Flug)</a:t>
              </a:r>
            </a:p>
          </p:txBody>
        </p:sp>
        <p:sp>
          <p:nvSpPr>
            <p:cNvPr id="45" name="Füllung Frau">
              <a:extLst>
                <a:ext uri="{FF2B5EF4-FFF2-40B4-BE49-F238E27FC236}">
                  <a16:creationId xmlns:a16="http://schemas.microsoft.com/office/drawing/2014/main" id="{9C3674C8-CE8A-44B6-AF92-182661BC1952}"/>
                </a:ext>
              </a:extLst>
            </p:cNvPr>
            <p:cNvSpPr/>
            <p:nvPr/>
          </p:nvSpPr>
          <p:spPr>
            <a:xfrm>
              <a:off x="2889437" y="4758265"/>
              <a:ext cx="2880000" cy="540000"/>
            </a:xfrm>
            <a:prstGeom prst="rect">
              <a:avLst/>
            </a:prstGeom>
            <a:solidFill>
              <a:srgbClr val="FE83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Vorbereitung</a:t>
              </a:r>
              <a:endParaRPr lang="x-none" sz="1100" dirty="0">
                <a:solidFill>
                  <a:srgbClr val="017475"/>
                </a:solidFill>
              </a:endParaRPr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B1D387F4-3FC0-46AC-90E8-7E9ED571B070}"/>
                </a:ext>
              </a:extLst>
            </p:cNvPr>
            <p:cNvSpPr/>
            <p:nvPr/>
          </p:nvSpPr>
          <p:spPr>
            <a:xfrm>
              <a:off x="5509499" y="1527211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7%</a:t>
              </a:r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FC5D81EA-041C-4D7B-B66E-2ABBF3180A78}"/>
                </a:ext>
              </a:extLst>
            </p:cNvPr>
            <p:cNvSpPr/>
            <p:nvPr/>
          </p:nvSpPr>
          <p:spPr>
            <a:xfrm>
              <a:off x="5509499" y="2186600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1%</a:t>
              </a:r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9DADA960-5847-4AAE-9443-9DFCE014B6A5}"/>
                </a:ext>
              </a:extLst>
            </p:cNvPr>
            <p:cNvSpPr/>
            <p:nvPr/>
          </p:nvSpPr>
          <p:spPr>
            <a:xfrm>
              <a:off x="5508716" y="2828186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12%</a:t>
              </a: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F3282E73-308C-4AC1-A2E9-29A5A741DB48}"/>
                </a:ext>
              </a:extLst>
            </p:cNvPr>
            <p:cNvSpPr/>
            <p:nvPr/>
          </p:nvSpPr>
          <p:spPr>
            <a:xfrm>
              <a:off x="5509499" y="3480390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38%</a:t>
              </a: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F030F448-1D61-4970-ACC4-EBC5086D97D2}"/>
                </a:ext>
              </a:extLst>
            </p:cNvPr>
            <p:cNvSpPr/>
            <p:nvPr/>
          </p:nvSpPr>
          <p:spPr>
            <a:xfrm>
              <a:off x="5508716" y="4765389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4%</a:t>
              </a:r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330BCD6D-A4D6-42AB-A2FB-9051D33B72AE}"/>
                </a:ext>
              </a:extLst>
            </p:cNvPr>
            <p:cNvSpPr/>
            <p:nvPr/>
          </p:nvSpPr>
          <p:spPr>
            <a:xfrm>
              <a:off x="5508716" y="4114759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7%</a:t>
              </a:r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C321DD48-A08E-4711-8BCF-CE8735536781}"/>
                </a:ext>
              </a:extLst>
            </p:cNvPr>
            <p:cNvSpPr/>
            <p:nvPr/>
          </p:nvSpPr>
          <p:spPr>
            <a:xfrm>
              <a:off x="5508716" y="5409794"/>
              <a:ext cx="532800" cy="532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25%</a:t>
              </a:r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C23D8C5D-CDB8-4587-AB34-1E441514ABC1}"/>
                </a:ext>
              </a:extLst>
            </p:cNvPr>
            <p:cNvSpPr/>
            <p:nvPr/>
          </p:nvSpPr>
          <p:spPr>
            <a:xfrm>
              <a:off x="5503279" y="6062855"/>
              <a:ext cx="531267" cy="53126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6%</a:t>
              </a:r>
            </a:p>
          </p:txBody>
        </p:sp>
      </p:grp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7218BFC3-A1A0-4575-ABBA-4AF25D6A00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17212" y="2136489"/>
            <a:ext cx="4322649" cy="20943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Reiserücktrittsversicherung</a:t>
            </a:r>
          </a:p>
          <a:p>
            <a:r>
              <a:rPr lang="de-DE" dirty="0"/>
              <a:t>nicht inklusive</a:t>
            </a:r>
          </a:p>
          <a:p>
            <a:r>
              <a:rPr lang="de-DE" dirty="0"/>
              <a:t>wird empfohlen selbst abzuschließen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8125AD87-D1A1-4101-8A4E-CFBD891C8F5B}"/>
              </a:ext>
            </a:extLst>
          </p:cNvPr>
          <p:cNvSpPr txBox="1">
            <a:spLocks/>
          </p:cNvSpPr>
          <p:nvPr/>
        </p:nvSpPr>
        <p:spPr>
          <a:xfrm>
            <a:off x="7417212" y="4455271"/>
            <a:ext cx="4584288" cy="209438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Thema COVID-19: </a:t>
            </a:r>
          </a:p>
          <a:p>
            <a:r>
              <a:rPr lang="de-DE" dirty="0"/>
              <a:t>erste Vorbereitungstreffen mit Hygienemaßnahmen</a:t>
            </a:r>
          </a:p>
          <a:p>
            <a:r>
              <a:rPr lang="de-DE" dirty="0"/>
              <a:t>Impf-Pflicht aktuell nicht bekannt</a:t>
            </a:r>
          </a:p>
        </p:txBody>
      </p:sp>
    </p:spTree>
    <p:extLst>
      <p:ext uri="{BB962C8B-B14F-4D97-AF65-F5344CB8AC3E}">
        <p14:creationId xmlns:p14="http://schemas.microsoft.com/office/powerpoint/2010/main" val="230010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uiExpand="1" build="p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el 1">
            <a:extLst>
              <a:ext uri="{FF2B5EF4-FFF2-40B4-BE49-F238E27FC236}">
                <a16:creationId xmlns:a16="http://schemas.microsoft.com/office/drawing/2014/main" id="{7291FC5C-39B5-4686-B2FC-CD79C54EEA66}"/>
              </a:ext>
            </a:extLst>
          </p:cNvPr>
          <p:cNvSpPr txBox="1">
            <a:spLocks/>
          </p:cNvSpPr>
          <p:nvPr/>
        </p:nvSpPr>
        <p:spPr>
          <a:xfrm>
            <a:off x="720000" y="528320"/>
            <a:ext cx="8942160" cy="109727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spc="100" baseline="0">
                <a:solidFill>
                  <a:srgbClr val="733D8B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r>
              <a:rPr lang="de-DE" sz="8000" dirty="0">
                <a:solidFill>
                  <a:srgbClr val="FFFFFF"/>
                </a:solidFill>
              </a:rPr>
              <a:t>Operation K</a:t>
            </a:r>
            <a:endParaRPr lang="en-US" sz="8000" spc="300" dirty="0">
              <a:solidFill>
                <a:srgbClr val="FFFFFF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BEEE2FA-2214-4CB8-9452-8EB40D6AC1F8}"/>
              </a:ext>
            </a:extLst>
          </p:cNvPr>
          <p:cNvSpPr txBox="1">
            <a:spLocks/>
          </p:cNvSpPr>
          <p:nvPr/>
        </p:nvSpPr>
        <p:spPr>
          <a:xfrm>
            <a:off x="307727" y="1866677"/>
            <a:ext cx="11989048" cy="18283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2400" dirty="0">
                <a:latin typeface="Quicksand" pitchFamily="2" charset="0"/>
              </a:rPr>
              <a:t>Koreanisches </a:t>
            </a:r>
            <a:r>
              <a:rPr lang="de-DE" sz="2400" dirty="0" err="1">
                <a:latin typeface="Quicksand" pitchFamily="2" charset="0"/>
              </a:rPr>
              <a:t>Orga</a:t>
            </a:r>
            <a:r>
              <a:rPr lang="de-DE" sz="2400" dirty="0">
                <a:latin typeface="Quicksand" pitchFamily="2" charset="0"/>
              </a:rPr>
              <a:t>-Team und Regierung unterstützen 9 TNs und 1 UL jeder Nation</a:t>
            </a:r>
          </a:p>
          <a:p>
            <a:pPr>
              <a:lnSpc>
                <a:spcPct val="110000"/>
              </a:lnSpc>
            </a:pPr>
            <a:r>
              <a:rPr lang="de-DE" sz="2000" dirty="0">
                <a:latin typeface="Quicksand" pitchFamily="2" charset="0"/>
              </a:rPr>
              <a:t>Sponsoring der Jamboree-Gebühr und Flug -&gt; Reduzierung des Beitrags auf 2.100 € (TN)</a:t>
            </a:r>
          </a:p>
          <a:p>
            <a:pPr>
              <a:lnSpc>
                <a:spcPct val="110000"/>
              </a:lnSpc>
            </a:pPr>
            <a:r>
              <a:rPr lang="de-DE" sz="2000" dirty="0">
                <a:latin typeface="Quicksand" pitchFamily="2" charset="0"/>
              </a:rPr>
              <a:t>Förderung, wenn Finanzierung sonst nicht möglich</a:t>
            </a:r>
          </a:p>
          <a:p>
            <a:pPr>
              <a:lnSpc>
                <a:spcPct val="110000"/>
              </a:lnSpc>
            </a:pPr>
            <a:r>
              <a:rPr lang="de-DE" sz="2000" dirty="0">
                <a:latin typeface="Quicksand" pitchFamily="2" charset="0"/>
              </a:rPr>
              <a:t>Personen sind regulärer Teil des Kontingents</a:t>
            </a:r>
          </a:p>
          <a:p>
            <a:pPr marL="457200" lvl="1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2000" dirty="0"/>
          </a:p>
          <a:p>
            <a:pPr marL="457200" lvl="1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5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76BBDA1-4A80-4FAB-9A44-CBBB59CBB78D}"/>
              </a:ext>
            </a:extLst>
          </p:cNvPr>
          <p:cNvSpPr txBox="1">
            <a:spLocks/>
          </p:cNvSpPr>
          <p:nvPr/>
        </p:nvSpPr>
        <p:spPr>
          <a:xfrm>
            <a:off x="307727" y="3886655"/>
            <a:ext cx="11576546" cy="18283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e-DE" sz="2400" dirty="0"/>
              <a:t>Bewerbungsverfahren an operationK@worldscoutjamboree.de</a:t>
            </a:r>
          </a:p>
          <a:p>
            <a:pPr>
              <a:lnSpc>
                <a:spcPct val="110000"/>
              </a:lnSpc>
            </a:pPr>
            <a:r>
              <a:rPr lang="de-DE" sz="2000" dirty="0"/>
              <a:t>Formlose Schreiben (je max. 1 Seite) mit</a:t>
            </a:r>
          </a:p>
          <a:p>
            <a:pPr lvl="1">
              <a:lnSpc>
                <a:spcPct val="110000"/>
              </a:lnSpc>
            </a:pPr>
            <a:r>
              <a:rPr lang="de-DE" sz="1800" dirty="0"/>
              <a:t>Bewerbungsschreiben mit Schilderung der Motivation und Umstände (keine Nachweise!)</a:t>
            </a:r>
          </a:p>
          <a:p>
            <a:pPr lvl="1">
              <a:lnSpc>
                <a:spcPct val="110000"/>
              </a:lnSpc>
            </a:pPr>
            <a:r>
              <a:rPr lang="de-DE" sz="1800" dirty="0"/>
              <a:t>Empfehlungsschreiben der Stammesführung zur Eignung, „Finanzplan“ (Ausschöpfung anderer Quellen &amp; Deckung der restl. Kosten)</a:t>
            </a:r>
          </a:p>
          <a:p>
            <a:pPr>
              <a:lnSpc>
                <a:spcPct val="110000"/>
              </a:lnSpc>
            </a:pPr>
            <a:r>
              <a:rPr lang="de-DE" sz="2000" dirty="0"/>
              <a:t>(Los-)Entscheid am 15. Oktober -&gt; ggfs. noch Zeit für Anmeldung</a:t>
            </a:r>
          </a:p>
          <a:p>
            <a:pPr>
              <a:lnSpc>
                <a:spcPct val="110000"/>
              </a:lnSpc>
            </a:pPr>
            <a:r>
              <a:rPr lang="de-DE" sz="2000" dirty="0"/>
              <a:t>Bewerbung auch für bereits angemeldete Personen!</a:t>
            </a:r>
          </a:p>
          <a:p>
            <a:pPr marL="457200" lvl="1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500" dirty="0"/>
          </a:p>
        </p:txBody>
      </p:sp>
    </p:spTree>
    <p:extLst>
      <p:ext uri="{BB962C8B-B14F-4D97-AF65-F5344CB8AC3E}">
        <p14:creationId xmlns:p14="http://schemas.microsoft.com/office/powerpoint/2010/main" val="2585280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A97AD9-74AD-4AAB-820B-F41EA3CE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 fürs Jamboree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4D07241F-16EC-44C1-AF9A-A3AF470DEB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2968223"/>
              </p:ext>
            </p:extLst>
          </p:nvPr>
        </p:nvGraphicFramePr>
        <p:xfrm>
          <a:off x="0" y="1690688"/>
          <a:ext cx="12192000" cy="516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Ellipse 5">
            <a:extLst>
              <a:ext uri="{FF2B5EF4-FFF2-40B4-BE49-F238E27FC236}">
                <a16:creationId xmlns:a16="http://schemas.microsoft.com/office/drawing/2014/main" id="{4C0F07D2-332A-4112-B63A-C2BBA40417CE}"/>
              </a:ext>
            </a:extLst>
          </p:cNvPr>
          <p:cNvSpPr/>
          <p:nvPr/>
        </p:nvSpPr>
        <p:spPr>
          <a:xfrm>
            <a:off x="1465067" y="4413521"/>
            <a:ext cx="324000" cy="324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772D6DD2-56CC-4FCD-B584-3D06BB5ECBD6}"/>
              </a:ext>
            </a:extLst>
          </p:cNvPr>
          <p:cNvSpPr/>
          <p:nvPr/>
        </p:nvSpPr>
        <p:spPr>
          <a:xfrm>
            <a:off x="3903450" y="3016251"/>
            <a:ext cx="324000" cy="324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B05CE8-B782-465B-86C1-CA80E7B699FC}"/>
              </a:ext>
            </a:extLst>
          </p:cNvPr>
          <p:cNvSpPr txBox="1"/>
          <p:nvPr/>
        </p:nvSpPr>
        <p:spPr>
          <a:xfrm>
            <a:off x="3258819" y="3594553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/>
              <a:t>2023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007B53D-2314-407F-9542-65553C73F005}"/>
              </a:ext>
            </a:extLst>
          </p:cNvPr>
          <p:cNvSpPr txBox="1"/>
          <p:nvPr/>
        </p:nvSpPr>
        <p:spPr>
          <a:xfrm>
            <a:off x="1148433" y="4967257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2022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10688B-56A9-4FEA-8415-9FEE705C56F8}"/>
              </a:ext>
            </a:extLst>
          </p:cNvPr>
          <p:cNvSpPr txBox="1"/>
          <p:nvPr/>
        </p:nvSpPr>
        <p:spPr>
          <a:xfrm>
            <a:off x="233543" y="5859123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2021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84DF17F-7DD5-41D6-8FAD-A2E94931762D}"/>
              </a:ext>
            </a:extLst>
          </p:cNvPr>
          <p:cNvSpPr/>
          <p:nvPr/>
        </p:nvSpPr>
        <p:spPr>
          <a:xfrm>
            <a:off x="2541490" y="3666334"/>
            <a:ext cx="324000" cy="324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76B95B1-A37D-4643-AD14-82F5564A3560}"/>
              </a:ext>
            </a:extLst>
          </p:cNvPr>
          <p:cNvSpPr/>
          <p:nvPr/>
        </p:nvSpPr>
        <p:spPr>
          <a:xfrm>
            <a:off x="5241675" y="3528368"/>
            <a:ext cx="432000" cy="432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5EAB7C7-8495-47E2-B9D7-CB7A70BB04E4}"/>
              </a:ext>
            </a:extLst>
          </p:cNvPr>
          <p:cNvSpPr txBox="1"/>
          <p:nvPr/>
        </p:nvSpPr>
        <p:spPr>
          <a:xfrm>
            <a:off x="494482" y="2687254"/>
            <a:ext cx="25891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de-DE" sz="1800" b="1" dirty="0">
                <a:latin typeface="Quicksand" pitchFamily="2" charset="0"/>
              </a:rPr>
              <a:t>Vorbereitungstreffen</a:t>
            </a:r>
          </a:p>
          <a:p>
            <a:pPr lvl="0" algn="ctr"/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- Unit-intern</a:t>
            </a:r>
          </a:p>
          <a:p>
            <a:pPr lvl="0" algn="ctr"/>
            <a:r>
              <a:rPr lang="de-DE" dirty="0">
                <a:solidFill>
                  <a:schemeClr val="bg1"/>
                </a:solidFill>
                <a:latin typeface="Quicksand" pitchFamily="2" charset="0"/>
              </a:rPr>
              <a:t>- Zeit &amp; Ort </a:t>
            </a:r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variabel</a:t>
            </a:r>
            <a:endParaRPr lang="de-DE" sz="900" dirty="0">
              <a:solidFill>
                <a:schemeClr val="bg1"/>
              </a:solidFill>
              <a:latin typeface="Quicksand" pitchFamily="2" charset="0"/>
            </a:endParaRPr>
          </a:p>
          <a:p>
            <a:pPr algn="ctr"/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0D4C783-7C32-4D2B-B301-05E9A72AA773}"/>
              </a:ext>
            </a:extLst>
          </p:cNvPr>
          <p:cNvSpPr txBox="1"/>
          <p:nvPr/>
        </p:nvSpPr>
        <p:spPr>
          <a:xfrm>
            <a:off x="4676380" y="4217335"/>
            <a:ext cx="299152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de-DE" sz="1800" b="1" dirty="0">
                <a:latin typeface="Quicksand" pitchFamily="2" charset="0"/>
              </a:rPr>
              <a:t>Kontingentslager</a:t>
            </a:r>
          </a:p>
          <a:p>
            <a:pPr lvl="0" algn="ctr"/>
            <a:r>
              <a:rPr lang="de-DE" dirty="0">
                <a:solidFill>
                  <a:schemeClr val="bg1"/>
                </a:solidFill>
                <a:latin typeface="Quicksand" pitchFamily="2" charset="0"/>
              </a:rPr>
              <a:t>- g</a:t>
            </a:r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esamtes Kontingent</a:t>
            </a:r>
          </a:p>
          <a:p>
            <a:pPr lvl="0" algn="ctr"/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- Christi Himmelfahrt</a:t>
            </a:r>
          </a:p>
          <a:p>
            <a:pPr lvl="0" algn="ctr"/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- Immenhausen bei Kassel</a:t>
            </a:r>
          </a:p>
          <a:p>
            <a:pPr algn="ctr"/>
            <a:endParaRPr lang="de-DE" dirty="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19193F1-0207-45D5-9C1E-C6503BA071DF}"/>
              </a:ext>
            </a:extLst>
          </p:cNvPr>
          <p:cNvSpPr/>
          <p:nvPr/>
        </p:nvSpPr>
        <p:spPr>
          <a:xfrm>
            <a:off x="838200" y="5751123"/>
            <a:ext cx="216000" cy="216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1C1C281-B3CB-4BCB-A178-019DACF317C3}"/>
              </a:ext>
            </a:extLst>
          </p:cNvPr>
          <p:cNvSpPr txBox="1"/>
          <p:nvPr/>
        </p:nvSpPr>
        <p:spPr>
          <a:xfrm>
            <a:off x="1026408" y="5826839"/>
            <a:ext cx="253627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de-DE" b="1" dirty="0">
                <a:latin typeface="Quicksand" pitchFamily="2" charset="0"/>
              </a:rPr>
              <a:t>Bildung der Units</a:t>
            </a:r>
            <a:endParaRPr lang="de-DE" sz="1800" b="1" dirty="0">
              <a:latin typeface="Quicksand" pitchFamily="2" charset="0"/>
            </a:endParaRPr>
          </a:p>
          <a:p>
            <a:pPr lvl="0" algn="ctr"/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- ab dem 1. November</a:t>
            </a:r>
          </a:p>
          <a:p>
            <a:pPr lvl="0" algn="ctr"/>
            <a:r>
              <a:rPr lang="de-DE" dirty="0">
                <a:solidFill>
                  <a:schemeClr val="bg1"/>
                </a:solidFill>
                <a:latin typeface="Quicksand" pitchFamily="2" charset="0"/>
              </a:rPr>
              <a:t>- </a:t>
            </a:r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KT-UL Treffen</a:t>
            </a:r>
          </a:p>
          <a:p>
            <a:pPr algn="ctr"/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DBD16A3-FEE2-408B-86A6-50F068BC502C}"/>
              </a:ext>
            </a:extLst>
          </p:cNvPr>
          <p:cNvSpPr txBox="1"/>
          <p:nvPr/>
        </p:nvSpPr>
        <p:spPr>
          <a:xfrm>
            <a:off x="9570910" y="5443624"/>
            <a:ext cx="229261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de-DE" sz="1800" b="1" dirty="0">
                <a:latin typeface="Quicksand" pitchFamily="2" charset="0"/>
              </a:rPr>
              <a:t>Nachtreffen</a:t>
            </a:r>
          </a:p>
          <a:p>
            <a:pPr lvl="0" algn="ctr"/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- Unit-intern</a:t>
            </a:r>
          </a:p>
          <a:p>
            <a:pPr lvl="0" algn="ctr"/>
            <a:r>
              <a:rPr lang="de-DE" dirty="0">
                <a:solidFill>
                  <a:schemeClr val="bg1"/>
                </a:solidFill>
                <a:latin typeface="Quicksand" pitchFamily="2" charset="0"/>
              </a:rPr>
              <a:t>- Zeit &amp; Ort </a:t>
            </a:r>
            <a:r>
              <a:rPr lang="de-DE" sz="1800" dirty="0">
                <a:solidFill>
                  <a:schemeClr val="bg1"/>
                </a:solidFill>
                <a:latin typeface="Quicksand" pitchFamily="2" charset="0"/>
              </a:rPr>
              <a:t>variabel</a:t>
            </a:r>
            <a:endParaRPr lang="de-DE" sz="900" dirty="0">
              <a:solidFill>
                <a:schemeClr val="bg1"/>
              </a:solidFill>
              <a:latin typeface="Quicksand" pitchFamily="2" charset="0"/>
            </a:endParaRPr>
          </a:p>
          <a:p>
            <a:pPr algn="ctr"/>
            <a:endParaRPr lang="de-DE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A71D9E3-6905-44EE-A167-159DC838D8CE}"/>
              </a:ext>
            </a:extLst>
          </p:cNvPr>
          <p:cNvSpPr/>
          <p:nvPr/>
        </p:nvSpPr>
        <p:spPr>
          <a:xfrm>
            <a:off x="10491813" y="5105366"/>
            <a:ext cx="324000" cy="324000"/>
          </a:xfrm>
          <a:prstGeom prst="ellipse">
            <a:avLst/>
          </a:pr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289346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8" grpId="0"/>
      <p:bldP spid="2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14D23E3-2BF2-440F-B88E-21286E4286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90" r="21686" b="-1"/>
          <a:stretch/>
        </p:blipFill>
        <p:spPr>
          <a:xfrm>
            <a:off x="6961092" y="1251858"/>
            <a:ext cx="4979177" cy="5018713"/>
          </a:xfrm>
          <a:custGeom>
            <a:avLst/>
            <a:gdLst/>
            <a:ahLst/>
            <a:cxnLst/>
            <a:rect l="l" t="t" r="r" b="b"/>
            <a:pathLst>
              <a:path w="5361537" h="5404109">
                <a:moveTo>
                  <a:pt x="2870828" y="1041"/>
                </a:moveTo>
                <a:cubicBezTo>
                  <a:pt x="3203581" y="14830"/>
                  <a:pt x="3513736" y="163111"/>
                  <a:pt x="3800184" y="290250"/>
                </a:cubicBezTo>
                <a:cubicBezTo>
                  <a:pt x="4171154" y="479730"/>
                  <a:pt x="4508586" y="661721"/>
                  <a:pt x="4702438" y="1026076"/>
                </a:cubicBezTo>
                <a:lnTo>
                  <a:pt x="4959549" y="1326248"/>
                </a:lnTo>
                <a:cubicBezTo>
                  <a:pt x="5129003" y="1601579"/>
                  <a:pt x="5186377" y="1874538"/>
                  <a:pt x="5266423" y="2173276"/>
                </a:cubicBezTo>
                <a:cubicBezTo>
                  <a:pt x="5322579" y="2382854"/>
                  <a:pt x="5370498" y="2561686"/>
                  <a:pt x="5358128" y="2694064"/>
                </a:cubicBezTo>
                <a:cubicBezTo>
                  <a:pt x="5387135" y="3102588"/>
                  <a:pt x="5225012" y="3513996"/>
                  <a:pt x="5101614" y="3771685"/>
                </a:cubicBezTo>
                <a:cubicBezTo>
                  <a:pt x="4997551" y="4040670"/>
                  <a:pt x="4756585" y="4494622"/>
                  <a:pt x="4442699" y="4781934"/>
                </a:cubicBezTo>
                <a:cubicBezTo>
                  <a:pt x="4128813" y="5069245"/>
                  <a:pt x="3867535" y="5122778"/>
                  <a:pt x="3526897" y="5225036"/>
                </a:cubicBezTo>
                <a:cubicBezTo>
                  <a:pt x="3186396" y="5327806"/>
                  <a:pt x="2777866" y="5432329"/>
                  <a:pt x="2398771" y="5397154"/>
                </a:cubicBezTo>
                <a:cubicBezTo>
                  <a:pt x="2019540" y="5361468"/>
                  <a:pt x="1637694" y="5196321"/>
                  <a:pt x="1251137" y="5011566"/>
                </a:cubicBezTo>
                <a:cubicBezTo>
                  <a:pt x="928921" y="4825498"/>
                  <a:pt x="428548" y="4335676"/>
                  <a:pt x="348364" y="4036426"/>
                </a:cubicBezTo>
                <a:cubicBezTo>
                  <a:pt x="268180" y="3737176"/>
                  <a:pt x="-82248" y="2964977"/>
                  <a:pt x="17820" y="2441683"/>
                </a:cubicBezTo>
                <a:cubicBezTo>
                  <a:pt x="117889" y="1918389"/>
                  <a:pt x="122569" y="1757316"/>
                  <a:pt x="362894" y="1276624"/>
                </a:cubicBezTo>
                <a:cubicBezTo>
                  <a:pt x="659155" y="828176"/>
                  <a:pt x="1338551" y="373177"/>
                  <a:pt x="1764257" y="227256"/>
                </a:cubicBezTo>
                <a:cubicBezTo>
                  <a:pt x="2005919" y="114722"/>
                  <a:pt x="2440806" y="61902"/>
                  <a:pt x="2530583" y="37846"/>
                </a:cubicBezTo>
                <a:cubicBezTo>
                  <a:pt x="2646482" y="6791"/>
                  <a:pt x="2759910" y="-3556"/>
                  <a:pt x="2870828" y="1041"/>
                </a:cubicBezTo>
                <a:close/>
              </a:path>
            </a:pathLst>
          </a:cu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287D72A-82B3-45F7-8ED3-70D37B55AE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82" y="2020814"/>
            <a:ext cx="831969" cy="83196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74E4353-ADB7-4937-936A-04EB168F66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82" y="2901166"/>
            <a:ext cx="831969" cy="83196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00540FF-0C1F-44C7-B2D4-EFA6526D6D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83" y="3780997"/>
            <a:ext cx="831970" cy="83197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E0F5312-CAC6-455A-A39A-AEC8BC8185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82" y="5550879"/>
            <a:ext cx="831969" cy="83196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AA86D41-689A-4248-B69D-C666955641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82" y="4662188"/>
            <a:ext cx="846409" cy="84640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69B3410-EE35-4367-84A4-4689FF020084}"/>
              </a:ext>
            </a:extLst>
          </p:cNvPr>
          <p:cNvSpPr txBox="1"/>
          <p:nvPr/>
        </p:nvSpPr>
        <p:spPr>
          <a:xfrm>
            <a:off x="1419028" y="2144411"/>
            <a:ext cx="44770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  <a:latin typeface="Quicksand" pitchFamily="2" charset="77"/>
              </a:rPr>
              <a:t>Tiktok.com/@</a:t>
            </a:r>
            <a:r>
              <a:rPr lang="de-DE" sz="3200" dirty="0" err="1">
                <a:solidFill>
                  <a:schemeClr val="bg1"/>
                </a:solidFill>
                <a:latin typeface="Quicksand" pitchFamily="2" charset="77"/>
              </a:rPr>
              <a:t>wsjrdp</a:t>
            </a:r>
            <a:endParaRPr lang="de-DE" b="1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F376838-AE96-49EC-A4C4-FE7E75984171}"/>
              </a:ext>
            </a:extLst>
          </p:cNvPr>
          <p:cNvSpPr txBox="1"/>
          <p:nvPr/>
        </p:nvSpPr>
        <p:spPr>
          <a:xfrm>
            <a:off x="1419028" y="3024762"/>
            <a:ext cx="4476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  <a:latin typeface="Quicksand" pitchFamily="2" charset="77"/>
              </a:rPr>
              <a:t>Facebook.de/</a:t>
            </a:r>
            <a:r>
              <a:rPr lang="de-DE" sz="3200" b="1" dirty="0">
                <a:solidFill>
                  <a:schemeClr val="bg1"/>
                </a:solidFill>
                <a:latin typeface="Quicksand" pitchFamily="2" charset="77"/>
              </a:rPr>
              <a:t>wsjrdp</a:t>
            </a:r>
            <a:endParaRPr lang="de-DE" b="1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C6DC47C-6557-49C4-A628-5938BA80FF04}"/>
              </a:ext>
            </a:extLst>
          </p:cNvPr>
          <p:cNvSpPr txBox="1"/>
          <p:nvPr/>
        </p:nvSpPr>
        <p:spPr>
          <a:xfrm>
            <a:off x="1419028" y="3898353"/>
            <a:ext cx="5238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  <a:latin typeface="Quicksand" pitchFamily="2" charset="77"/>
              </a:rPr>
              <a:t>Instagram.de/</a:t>
            </a:r>
            <a:r>
              <a:rPr lang="de-DE" sz="3200" b="1" dirty="0">
                <a:solidFill>
                  <a:schemeClr val="bg1"/>
                </a:solidFill>
                <a:latin typeface="Quicksand" pitchFamily="2" charset="77"/>
              </a:rPr>
              <a:t>wsjrdp</a:t>
            </a:r>
            <a:endParaRPr lang="de-DE" b="1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A595BAF-E815-4428-98BC-60136EA9D805}"/>
              </a:ext>
            </a:extLst>
          </p:cNvPr>
          <p:cNvSpPr txBox="1"/>
          <p:nvPr/>
        </p:nvSpPr>
        <p:spPr>
          <a:xfrm>
            <a:off x="1419028" y="4792975"/>
            <a:ext cx="2954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  <a:latin typeface="Quicksand" pitchFamily="2" charset="77"/>
              </a:rPr>
              <a:t>t.me</a:t>
            </a:r>
            <a:r>
              <a:rPr lang="de-DE" sz="3200" b="1" dirty="0">
                <a:solidFill>
                  <a:schemeClr val="bg1"/>
                </a:solidFill>
                <a:latin typeface="Quicksand" pitchFamily="2" charset="77"/>
              </a:rPr>
              <a:t>/wsjrdp</a:t>
            </a:r>
            <a:endParaRPr lang="de-DE" b="1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44E1FA5-E521-4A03-997E-2C589D7B5C10}"/>
              </a:ext>
            </a:extLst>
          </p:cNvPr>
          <p:cNvSpPr txBox="1"/>
          <p:nvPr/>
        </p:nvSpPr>
        <p:spPr>
          <a:xfrm>
            <a:off x="1419028" y="5674475"/>
            <a:ext cx="68432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  <a:latin typeface="Quicksand" pitchFamily="2" charset="77"/>
              </a:rPr>
              <a:t>www.worldscoutjamboree.de</a:t>
            </a:r>
            <a:endParaRPr lang="de-DE" b="1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AEF4586-B6EA-F24F-8E78-79ABBCD8E88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8730343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700" b="1" i="0" kern="1200" spc="100" baseline="0">
                <a:solidFill>
                  <a:schemeClr val="bg1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r>
              <a:rPr lang="de-DE" sz="8000" dirty="0"/>
              <a:t>Informationen zum Jamboree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A3BB91-C600-4BA1-8343-A442B65383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4518" y="814008"/>
            <a:ext cx="2624168" cy="371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3972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7FBDAD-B381-F14F-8288-94C46258E546}"/>
              </a:ext>
            </a:extLst>
          </p:cNvPr>
          <p:cNvSpPr txBox="1">
            <a:spLocks/>
          </p:cNvSpPr>
          <p:nvPr/>
        </p:nvSpPr>
        <p:spPr>
          <a:xfrm>
            <a:off x="849086" y="484396"/>
            <a:ext cx="8730343" cy="10528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700" b="1" i="0" kern="1200" spc="100" baseline="0">
                <a:solidFill>
                  <a:schemeClr val="bg1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r>
              <a:rPr lang="de-DE" sz="8000" dirty="0"/>
              <a:t>Danke fürs zuhören!</a:t>
            </a:r>
          </a:p>
          <a:p>
            <a:r>
              <a:rPr lang="de-DE" sz="8000" dirty="0"/>
              <a:t>Noch Fragen?</a:t>
            </a:r>
            <a:endParaRPr lang="en-US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BC5EC88-4EA1-4223-A9A7-9D3EB42E5481}"/>
              </a:ext>
            </a:extLst>
          </p:cNvPr>
          <p:cNvSpPr txBox="1"/>
          <p:nvPr/>
        </p:nvSpPr>
        <p:spPr>
          <a:xfrm>
            <a:off x="815482" y="3113325"/>
            <a:ext cx="105610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b="1" dirty="0">
                <a:solidFill>
                  <a:schemeClr val="tx2"/>
                </a:solidFill>
                <a:latin typeface="Quicksand" pitchFamily="2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orldscoutjamboree.de</a:t>
            </a:r>
          </a:p>
          <a:p>
            <a:endParaRPr lang="de-DE" sz="2400" b="1" dirty="0">
              <a:solidFill>
                <a:schemeClr val="tx2"/>
              </a:solidFill>
              <a:latin typeface="Quicksand" pitchFamily="2" charset="77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de-DE" sz="5400" b="1" dirty="0">
                <a:solidFill>
                  <a:schemeClr val="tx2"/>
                </a:solidFill>
                <a:latin typeface="Quicksand" pitchFamily="2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worldscoutjamboree.de</a:t>
            </a:r>
            <a:endParaRPr lang="de-DE" sz="5400" b="1" dirty="0">
              <a:solidFill>
                <a:schemeClr val="tx2"/>
              </a:solidFill>
              <a:latin typeface="Quicksand" pitchFamily="2" charset="77"/>
            </a:endParaRPr>
          </a:p>
          <a:p>
            <a:pPr algn="ctr"/>
            <a:endParaRPr lang="de-DE" sz="2800" dirty="0">
              <a:solidFill>
                <a:schemeClr val="bg1"/>
              </a:solidFill>
              <a:latin typeface="Quicksand" pitchFamily="2" charset="77"/>
            </a:endParaRPr>
          </a:p>
          <a:p>
            <a:r>
              <a:rPr lang="de-DE" sz="2800" dirty="0">
                <a:solidFill>
                  <a:schemeClr val="bg1"/>
                </a:solidFill>
                <a:latin typeface="Quicksand" pitchFamily="2" charset="77"/>
              </a:rPr>
              <a:t>Kontakt für </a:t>
            </a:r>
            <a:r>
              <a:rPr lang="de-DE" sz="2800" dirty="0" err="1">
                <a:solidFill>
                  <a:schemeClr val="bg1"/>
                </a:solidFill>
                <a:latin typeface="Quicksand" pitchFamily="2" charset="77"/>
              </a:rPr>
              <a:t>Unitbetreuung</a:t>
            </a:r>
            <a:endParaRPr lang="de-DE" sz="2800" dirty="0">
              <a:solidFill>
                <a:schemeClr val="bg1"/>
              </a:solidFill>
              <a:latin typeface="Quicksand" pitchFamily="2" charset="77"/>
            </a:endParaRPr>
          </a:p>
          <a:p>
            <a:r>
              <a:rPr lang="de-DE" sz="2800" dirty="0">
                <a:solidFill>
                  <a:schemeClr val="tx2"/>
                </a:solidFill>
                <a:latin typeface="Quicksand" pitchFamily="2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t-info@worldscoutjamboree.de</a:t>
            </a:r>
            <a:r>
              <a:rPr lang="de-DE" sz="2800" dirty="0">
                <a:solidFill>
                  <a:schemeClr val="tx2"/>
                </a:solidFill>
                <a:latin typeface="Quicksand" pitchFamily="2" charset="7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129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7924" y="2390425"/>
            <a:ext cx="5170715" cy="1708307"/>
          </a:xfrm>
        </p:spPr>
        <p:txBody>
          <a:bodyPr>
            <a:normAutofit fontScale="90000"/>
          </a:bodyPr>
          <a:lstStyle/>
          <a:p>
            <a:pPr algn="ctr"/>
            <a:r>
              <a:rPr lang="en-US" sz="8000" spc="300" dirty="0" err="1">
                <a:solidFill>
                  <a:schemeClr val="bg2"/>
                </a:solidFill>
              </a:rPr>
              <a:t>Abenteuer</a:t>
            </a:r>
            <a:r>
              <a:rPr lang="en-US" sz="8000" spc="300" dirty="0">
                <a:solidFill>
                  <a:schemeClr val="bg2"/>
                </a:solidFill>
              </a:rPr>
              <a:t> jamboree</a:t>
            </a:r>
            <a:endParaRPr lang="en-US" sz="8000" dirty="0">
              <a:solidFill>
                <a:schemeClr val="bg2"/>
              </a:solidFill>
            </a:endParaRP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C5D7F061-412D-D149-85BA-3BB7EC04D8D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5" r="15475"/>
          <a:stretch/>
        </p:blipFill>
        <p:spPr>
          <a:xfrm>
            <a:off x="0" y="0"/>
            <a:ext cx="5966085" cy="6908547"/>
          </a:xfrm>
          <a:prstGeom prst="rect">
            <a:avLst/>
          </a:prstGeom>
        </p:spPr>
      </p:pic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329423DD-0D7A-7F42-BA6D-195AD31A30DA}"/>
              </a:ext>
            </a:extLst>
          </p:cNvPr>
          <p:cNvSpPr txBox="1">
            <a:spLocks/>
          </p:cNvSpPr>
          <p:nvPr/>
        </p:nvSpPr>
        <p:spPr>
          <a:xfrm>
            <a:off x="6427924" y="4467575"/>
            <a:ext cx="5402126" cy="127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>
                <a:solidFill>
                  <a:schemeClr val="tx2"/>
                </a:solidFill>
              </a:rPr>
              <a:t>Informationen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zum</a:t>
            </a:r>
            <a:endParaRPr lang="en-US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</a:rPr>
              <a:t>25. World Scout Jamboree 2023</a:t>
            </a:r>
          </a:p>
        </p:txBody>
      </p:sp>
    </p:spTree>
    <p:extLst>
      <p:ext uri="{BB962C8B-B14F-4D97-AF65-F5344CB8AC3E}">
        <p14:creationId xmlns:p14="http://schemas.microsoft.com/office/powerpoint/2010/main" val="2595686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kten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531594-BABC-3F4C-8ECA-4C17E41C33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844" y="1443038"/>
            <a:ext cx="7728156" cy="4351338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endParaRPr lang="en-US" b="1" dirty="0"/>
          </a:p>
          <a:p>
            <a:pPr>
              <a:lnSpc>
                <a:spcPct val="110000"/>
              </a:lnSpc>
            </a:pPr>
            <a:r>
              <a:rPr lang="en-US" b="1" dirty="0"/>
              <a:t>Was?	</a:t>
            </a:r>
            <a:r>
              <a:rPr lang="en-US" dirty="0" err="1"/>
              <a:t>Weltpfadfinderlager</a:t>
            </a:r>
            <a:endParaRPr lang="en-US" dirty="0"/>
          </a:p>
          <a:p>
            <a:pPr>
              <a:lnSpc>
                <a:spcPct val="110000"/>
              </a:lnSpc>
            </a:pPr>
            <a:r>
              <a:rPr lang="en-US" b="1" dirty="0" err="1"/>
              <a:t>Wann</a:t>
            </a:r>
            <a:r>
              <a:rPr lang="en-US" b="1" dirty="0"/>
              <a:t>?</a:t>
            </a:r>
            <a:r>
              <a:rPr lang="en-US" dirty="0"/>
              <a:t>	1. bis 12. August 2023</a:t>
            </a:r>
            <a:endParaRPr lang="en-US" b="1" dirty="0"/>
          </a:p>
          <a:p>
            <a:pPr>
              <a:lnSpc>
                <a:spcPct val="110000"/>
              </a:lnSpc>
            </a:pPr>
            <a:r>
              <a:rPr lang="en-US" b="1" dirty="0"/>
              <a:t>Wo? 	</a:t>
            </a:r>
            <a:r>
              <a:rPr lang="en-US" dirty="0" err="1"/>
              <a:t>SaeManGeum</a:t>
            </a:r>
            <a:r>
              <a:rPr lang="en-US" dirty="0"/>
              <a:t>, Korea</a:t>
            </a:r>
          </a:p>
          <a:p>
            <a:pPr>
              <a:lnSpc>
                <a:spcPct val="110000"/>
              </a:lnSpc>
            </a:pPr>
            <a:r>
              <a:rPr lang="en-US" b="1" dirty="0" err="1"/>
              <a:t>Wer</a:t>
            </a:r>
            <a:r>
              <a:rPr lang="en-US" b="1" dirty="0"/>
              <a:t>? 	</a:t>
            </a:r>
            <a:r>
              <a:rPr lang="en-US" dirty="0"/>
              <a:t>50.000 </a:t>
            </a:r>
            <a:r>
              <a:rPr lang="en-US" dirty="0" err="1"/>
              <a:t>Pfadfinder</a:t>
            </a:r>
            <a:r>
              <a:rPr lang="en-US" dirty="0"/>
              <a:t>*</a:t>
            </a:r>
            <a:r>
              <a:rPr lang="en-US" dirty="0" err="1"/>
              <a:t>innen</a:t>
            </a:r>
            <a:r>
              <a:rPr lang="en-US" dirty="0"/>
              <a:t> 				</a:t>
            </a:r>
            <a:r>
              <a:rPr lang="en-US" dirty="0" err="1"/>
              <a:t>aus</a:t>
            </a:r>
            <a:r>
              <a:rPr lang="en-US" dirty="0"/>
              <a:t> </a:t>
            </a:r>
            <a:r>
              <a:rPr lang="en-US" dirty="0" err="1"/>
              <a:t>aller</a:t>
            </a:r>
            <a:r>
              <a:rPr lang="en-US" dirty="0"/>
              <a:t> Welt (2019: 150 </a:t>
            </a:r>
            <a:r>
              <a:rPr lang="en-US" dirty="0" err="1"/>
              <a:t>Nationen</a:t>
            </a:r>
            <a:r>
              <a:rPr lang="en-US" dirty="0"/>
              <a:t>) </a:t>
            </a:r>
          </a:p>
          <a:p>
            <a:pPr>
              <a:lnSpc>
                <a:spcPct val="110000"/>
              </a:lnSpc>
            </a:pPr>
            <a:r>
              <a:rPr lang="en-US" b="1" dirty="0"/>
              <a:t>Motto:</a:t>
            </a:r>
            <a:r>
              <a:rPr lang="en-US" dirty="0"/>
              <a:t> 	Draw your Dream!</a:t>
            </a:r>
          </a:p>
          <a:p>
            <a:endParaRPr lang="en-US" sz="2400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6CF9F68-4E64-8E49-9A33-975677C3AC7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r="4879"/>
          <a:stretch/>
        </p:blipFill>
        <p:spPr>
          <a:xfrm>
            <a:off x="419100" y="1690688"/>
            <a:ext cx="3746089" cy="4351338"/>
          </a:xfrm>
          <a:custGeom>
            <a:avLst/>
            <a:gdLst/>
            <a:ahLst/>
            <a:cxnLst/>
            <a:rect l="l" t="t" r="r" b="b"/>
            <a:pathLst>
              <a:path w="5903724" h="6858000">
                <a:moveTo>
                  <a:pt x="0" y="0"/>
                </a:moveTo>
                <a:lnTo>
                  <a:pt x="5886178" y="0"/>
                </a:lnTo>
                <a:lnTo>
                  <a:pt x="5890522" y="42009"/>
                </a:lnTo>
                <a:cubicBezTo>
                  <a:pt x="5948302" y="788432"/>
                  <a:pt x="5795211" y="5194623"/>
                  <a:pt x="5836720" y="6279216"/>
                </a:cubicBezTo>
                <a:cubicBezTo>
                  <a:pt x="5842686" y="6384211"/>
                  <a:pt x="5845802" y="6526851"/>
                  <a:pt x="5846540" y="6699667"/>
                </a:cubicBezTo>
                <a:lnTo>
                  <a:pt x="5846508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62571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435FAB6-2463-4747-A25C-ED7DD7CDB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lemente</a:t>
            </a:r>
            <a:r>
              <a:rPr lang="en-US" dirty="0"/>
              <a:t> des </a:t>
            </a:r>
            <a:r>
              <a:rPr lang="en-US" dirty="0" err="1"/>
              <a:t>Abenteuers</a:t>
            </a:r>
            <a:r>
              <a:rPr lang="en-US" dirty="0"/>
              <a:t> Jambore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159109-2091-436E-8D8B-E6F696BAFB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895476"/>
            <a:ext cx="5181600" cy="4351338"/>
          </a:xfrm>
        </p:spPr>
        <p:txBody>
          <a:bodyPr>
            <a:normAutofit fontScale="92500"/>
          </a:bodyPr>
          <a:lstStyle/>
          <a:p>
            <a:pPr>
              <a:lnSpc>
                <a:spcPct val="110000"/>
              </a:lnSpc>
            </a:pPr>
            <a:r>
              <a:rPr lang="de-DE" sz="2400" dirty="0">
                <a:solidFill>
                  <a:schemeClr val="bg1"/>
                </a:solidFill>
                <a:latin typeface="Quicksand" pitchFamily="2" charset="77"/>
              </a:rPr>
              <a:t>3 Vorbereitungstreffen in der Unit</a:t>
            </a:r>
          </a:p>
          <a:p>
            <a:pPr>
              <a:lnSpc>
                <a:spcPct val="110000"/>
              </a:lnSpc>
            </a:pPr>
            <a:r>
              <a:rPr lang="de-DE" sz="2400" dirty="0">
                <a:solidFill>
                  <a:schemeClr val="bg1"/>
                </a:solidFill>
                <a:latin typeface="Quicksand" pitchFamily="2" charset="77"/>
              </a:rPr>
              <a:t>Kontingentslager in Deutschland</a:t>
            </a:r>
          </a:p>
          <a:p>
            <a:pPr>
              <a:lnSpc>
                <a:spcPct val="110000"/>
              </a:lnSpc>
            </a:pPr>
            <a:r>
              <a:rPr lang="de-DE" sz="2400" dirty="0"/>
              <a:t>i</a:t>
            </a:r>
            <a:r>
              <a:rPr lang="de-DE" sz="2400" dirty="0">
                <a:latin typeface="Quicksand" pitchFamily="2" charset="77"/>
              </a:rPr>
              <a:t>m Juli/August 2023 (ca. 3 Wochen):</a:t>
            </a:r>
            <a:endParaRPr lang="de-DE" sz="2400" dirty="0">
              <a:solidFill>
                <a:schemeClr val="bg1"/>
              </a:solidFill>
              <a:latin typeface="Quicksand" pitchFamily="2" charset="77"/>
            </a:endParaRPr>
          </a:p>
          <a:p>
            <a:pPr lvl="1">
              <a:lnSpc>
                <a:spcPct val="110000"/>
              </a:lnSpc>
            </a:pPr>
            <a:r>
              <a:rPr lang="de-DE" sz="2000" dirty="0">
                <a:solidFill>
                  <a:schemeClr val="bg1"/>
                </a:solidFill>
                <a:latin typeface="Quicksand" pitchFamily="2" charset="77"/>
              </a:rPr>
              <a:t>Akklimatisierungstage in Korea</a:t>
            </a:r>
          </a:p>
          <a:p>
            <a:pPr lvl="1">
              <a:lnSpc>
                <a:spcPct val="110000"/>
              </a:lnSpc>
            </a:pPr>
            <a:r>
              <a:rPr lang="de-DE" sz="2000" dirty="0"/>
              <a:t>Teilnahme am World Scout Jamboree </a:t>
            </a:r>
            <a:endParaRPr lang="de-DE" sz="2000" dirty="0">
              <a:solidFill>
                <a:schemeClr val="bg1"/>
              </a:solidFill>
              <a:latin typeface="Quicksand" pitchFamily="2" charset="77"/>
            </a:endParaRPr>
          </a:p>
          <a:p>
            <a:pPr lvl="1">
              <a:lnSpc>
                <a:spcPct val="110000"/>
              </a:lnSpc>
            </a:pPr>
            <a:r>
              <a:rPr lang="de-DE" sz="2000" dirty="0">
                <a:solidFill>
                  <a:schemeClr val="bg1"/>
                </a:solidFill>
                <a:latin typeface="Quicksand" pitchFamily="2" charset="77"/>
              </a:rPr>
              <a:t>Geplante Home Hospitality, </a:t>
            </a:r>
            <a:r>
              <a:rPr lang="de-DE" sz="2000" dirty="0" err="1">
                <a:solidFill>
                  <a:schemeClr val="bg1"/>
                </a:solidFill>
                <a:latin typeface="Quicksand" pitchFamily="2" charset="77"/>
              </a:rPr>
              <a:t>tbc</a:t>
            </a:r>
            <a:r>
              <a:rPr lang="de-DE" sz="2000" dirty="0">
                <a:solidFill>
                  <a:schemeClr val="bg1"/>
                </a:solidFill>
                <a:latin typeface="Quicksand" pitchFamily="2" charset="77"/>
              </a:rPr>
              <a:t> (Gastfamilienaufenthalte)</a:t>
            </a:r>
          </a:p>
          <a:p>
            <a:pPr lvl="1">
              <a:lnSpc>
                <a:spcPct val="110000"/>
              </a:lnSpc>
            </a:pPr>
            <a:r>
              <a:rPr lang="de-DE" sz="2000" dirty="0">
                <a:solidFill>
                  <a:schemeClr val="bg1"/>
                </a:solidFill>
                <a:latin typeface="Quicksand" pitchFamily="2" charset="77"/>
              </a:rPr>
              <a:t>Unit-Tour durch Korea </a:t>
            </a:r>
          </a:p>
          <a:p>
            <a:pPr marL="638175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2000" dirty="0">
                <a:solidFill>
                  <a:schemeClr val="bg1"/>
                </a:solidFill>
                <a:latin typeface="Quicksand" pitchFamily="2" charset="77"/>
              </a:rPr>
              <a:t>(abhängig vom Schulferienfenster)</a:t>
            </a:r>
          </a:p>
          <a:p>
            <a:pPr marL="176213" indent="-176213">
              <a:lnSpc>
                <a:spcPct val="110000"/>
              </a:lnSpc>
            </a:pPr>
            <a:r>
              <a:rPr lang="de-DE" sz="2400" dirty="0">
                <a:solidFill>
                  <a:schemeClr val="bg1"/>
                </a:solidFill>
                <a:latin typeface="Quicksand" pitchFamily="2" charset="77"/>
              </a:rPr>
              <a:t>Nachbereitung und Reflexion</a:t>
            </a:r>
          </a:p>
          <a:p>
            <a:pPr marL="180975" indent="0">
              <a:lnSpc>
                <a:spcPct val="110000"/>
              </a:lnSpc>
              <a:spcBef>
                <a:spcPts val="0"/>
              </a:spcBef>
              <a:buNone/>
            </a:pPr>
            <a:endParaRPr lang="de-DE" sz="2000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5699DB1-51AE-B545-965B-1587A85C1324}"/>
              </a:ext>
            </a:extLst>
          </p:cNvPr>
          <p:cNvSpPr txBox="1">
            <a:spLocks/>
          </p:cNvSpPr>
          <p:nvPr/>
        </p:nvSpPr>
        <p:spPr>
          <a:xfrm>
            <a:off x="145472" y="4986337"/>
            <a:ext cx="8730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00" b="1" i="0" kern="1200" spc="100" baseline="0">
                <a:solidFill>
                  <a:schemeClr val="bg1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B80F82D-5CB9-D544-BC6A-900AFE842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127" y="2276403"/>
            <a:ext cx="5174673" cy="3449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247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1B97E08-B60F-1F43-84B4-8CFD2D4A4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877425" cy="1325563"/>
          </a:xfrm>
        </p:spPr>
        <p:txBody>
          <a:bodyPr>
            <a:normAutofit/>
          </a:bodyPr>
          <a:lstStyle/>
          <a:p>
            <a:r>
              <a:rPr lang="de-DE" sz="6600" spc="300" dirty="0"/>
              <a:t>Vision für das deutsche Kontingent</a:t>
            </a:r>
            <a:endParaRPr lang="en-US" sz="6600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CA69679-8301-4933-BF16-E97B28920DCF}"/>
              </a:ext>
            </a:extLst>
          </p:cNvPr>
          <p:cNvGrpSpPr/>
          <p:nvPr/>
        </p:nvGrpSpPr>
        <p:grpSpPr>
          <a:xfrm>
            <a:off x="622262" y="2396330"/>
            <a:ext cx="1085850" cy="3639344"/>
            <a:chOff x="2851112" y="2872580"/>
            <a:chExt cx="1085850" cy="3639344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C92EAF26-B81C-4BB2-898B-D1717B7B50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8524" r="94989"/>
            <a:stretch/>
          </p:blipFill>
          <p:spPr>
            <a:xfrm>
              <a:off x="2851112" y="3428999"/>
              <a:ext cx="1085850" cy="308292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A696522F-7FEA-4F47-AEB1-95E2C37CAE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94989" b="74200"/>
            <a:stretch/>
          </p:blipFill>
          <p:spPr>
            <a:xfrm>
              <a:off x="2851112" y="2872580"/>
              <a:ext cx="1085850" cy="1112838"/>
            </a:xfrm>
            <a:prstGeom prst="rect">
              <a:avLst/>
            </a:prstGeom>
          </p:spPr>
        </p:pic>
      </p:grp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876ACD2-222C-4936-AA0C-ACF96B84ED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52650" y="2392360"/>
            <a:ext cx="9017038" cy="1036640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de-DE" sz="2400" dirty="0"/>
              <a:t>Gemeinschaft: Kleingruppen, Unit, deutsches Kontingent, internationale Pfadfinder*</a:t>
            </a:r>
            <a:r>
              <a:rPr lang="de-DE" sz="2400" dirty="0" err="1"/>
              <a:t>innenbewegung</a:t>
            </a:r>
            <a:endParaRPr lang="de-DE" sz="2400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AF758770-8BA8-4C5F-9FAF-8A07B6849C43}"/>
              </a:ext>
            </a:extLst>
          </p:cNvPr>
          <p:cNvSpPr txBox="1">
            <a:spLocks/>
          </p:cNvSpPr>
          <p:nvPr/>
        </p:nvSpPr>
        <p:spPr>
          <a:xfrm>
            <a:off x="2152650" y="3533375"/>
            <a:ext cx="9017038" cy="1036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400" dirty="0"/>
              <a:t>Engagement und Partizipation: Entwicklung der eigenen Persönlichkeit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AA3313EE-C14C-46EF-AE57-CF05704EED68}"/>
              </a:ext>
            </a:extLst>
          </p:cNvPr>
          <p:cNvSpPr txBox="1">
            <a:spLocks/>
          </p:cNvSpPr>
          <p:nvPr/>
        </p:nvSpPr>
        <p:spPr>
          <a:xfrm>
            <a:off x="2152650" y="4598190"/>
            <a:ext cx="9017038" cy="1036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400" dirty="0"/>
              <a:t>Nachhaltigkeit und Einfachheit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020E899-D05F-429D-8212-E53C6268A2A2}"/>
              </a:ext>
            </a:extLst>
          </p:cNvPr>
          <p:cNvSpPr txBox="1">
            <a:spLocks/>
          </p:cNvSpPr>
          <p:nvPr/>
        </p:nvSpPr>
        <p:spPr>
          <a:xfrm>
            <a:off x="2152650" y="5415356"/>
            <a:ext cx="9017038" cy="1036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sz="2400" dirty="0"/>
              <a:t>Land, Leute und Kultur in Südkorea</a:t>
            </a:r>
          </a:p>
        </p:txBody>
      </p:sp>
    </p:spTree>
    <p:extLst>
      <p:ext uri="{BB962C8B-B14F-4D97-AF65-F5344CB8AC3E}">
        <p14:creationId xmlns:p14="http://schemas.microsoft.com/office/powerpoint/2010/main" val="2980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A311-A342-1241-A546-DBC706E5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7924" y="2390425"/>
            <a:ext cx="5170715" cy="1708307"/>
          </a:xfrm>
        </p:spPr>
        <p:txBody>
          <a:bodyPr>
            <a:normAutofit/>
          </a:bodyPr>
          <a:lstStyle/>
          <a:p>
            <a:pPr algn="ctr"/>
            <a:r>
              <a:rPr lang="en-US" sz="8000" spc="300" dirty="0" err="1">
                <a:solidFill>
                  <a:schemeClr val="bg2"/>
                </a:solidFill>
              </a:rPr>
              <a:t>Kontingentsteam</a:t>
            </a:r>
            <a:endParaRPr lang="en-US" sz="8000" dirty="0">
              <a:solidFill>
                <a:schemeClr val="bg2"/>
              </a:solidFill>
            </a:endParaRP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C5D7F061-412D-D149-85BA-3BB7EC04D8D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5" r="15475"/>
          <a:stretch/>
        </p:blipFill>
        <p:spPr>
          <a:xfrm>
            <a:off x="0" y="0"/>
            <a:ext cx="5966085" cy="6908547"/>
          </a:xfrm>
          <a:prstGeom prst="rect">
            <a:avLst/>
          </a:prstGeom>
        </p:spPr>
      </p:pic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329423DD-0D7A-7F42-BA6D-195AD31A30DA}"/>
              </a:ext>
            </a:extLst>
          </p:cNvPr>
          <p:cNvSpPr txBox="1">
            <a:spLocks/>
          </p:cNvSpPr>
          <p:nvPr/>
        </p:nvSpPr>
        <p:spPr>
          <a:xfrm>
            <a:off x="6427924" y="4467575"/>
            <a:ext cx="5170714" cy="1272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bg1"/>
                </a:solidFill>
                <a:latin typeface="Quicksan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2"/>
                </a:solidFill>
              </a:rPr>
              <a:t>“Hinter den </a:t>
            </a:r>
            <a:r>
              <a:rPr lang="en-US" dirty="0" err="1">
                <a:solidFill>
                  <a:schemeClr val="tx2"/>
                </a:solidFill>
              </a:rPr>
              <a:t>Kulissen</a:t>
            </a:r>
            <a:r>
              <a:rPr lang="en-US" dirty="0">
                <a:solidFill>
                  <a:schemeClr val="tx2"/>
                </a:solidFill>
              </a:rPr>
              <a:t>”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990986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2F906-414C-604E-883A-53B5A144B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7200" spc="300" dirty="0"/>
              <a:t>Deutsche Kontingentsleitung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14C61-8A60-EE42-AFFC-57D7EC4892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6" y="1809940"/>
            <a:ext cx="5157787" cy="823912"/>
          </a:xfrm>
        </p:spPr>
        <p:txBody>
          <a:bodyPr>
            <a:normAutofit lnSpcReduction="10000"/>
          </a:bodyPr>
          <a:lstStyle/>
          <a:p>
            <a:pPr algn="ctr"/>
            <a:r>
              <a:rPr lang="en-US" sz="5400" dirty="0">
                <a:solidFill>
                  <a:schemeClr val="tx2"/>
                </a:solidFill>
                <a:latin typeface="Cabana" pitchFamily="2" charset="0"/>
              </a:rPr>
              <a:t>Head of Conting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618243-A5DB-834F-A8F7-F8A15DB501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9024" y="1807740"/>
            <a:ext cx="5183188" cy="823912"/>
          </a:xfrm>
        </p:spPr>
        <p:txBody>
          <a:bodyPr>
            <a:normAutofit lnSpcReduction="10000"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de-DE" dirty="0"/>
              <a:t>Die Kontingentsleitung repräsentiert die Verbänd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9EDBCDE-15CC-F94F-AFDF-9008DAF53D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619" y="4347369"/>
            <a:ext cx="2657291" cy="26572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967BF53-0342-1345-8DB2-A246DCEBB7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338" y="4163887"/>
            <a:ext cx="4274618" cy="30242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F4A1E0-25C0-9E45-B22B-EF94872DE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024" y="3250872"/>
            <a:ext cx="2772415" cy="10964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9521E2-0388-9047-976E-032733D6D1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923" y="2825396"/>
            <a:ext cx="1947447" cy="194744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2B9BA4A6-35A5-4C1B-A105-6206B8EE0C71}"/>
              </a:ext>
            </a:extLst>
          </p:cNvPr>
          <p:cNvSpPr txBox="1">
            <a:spLocks/>
          </p:cNvSpPr>
          <p:nvPr/>
        </p:nvSpPr>
        <p:spPr>
          <a:xfrm>
            <a:off x="1389766" y="5676014"/>
            <a:ext cx="4078840" cy="11732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700" b="1" i="0" kern="1200" spc="100" baseline="0">
                <a:solidFill>
                  <a:schemeClr val="bg1"/>
                </a:solidFill>
                <a:latin typeface="Cabana" pitchFamily="2" charset="0"/>
                <a:ea typeface="+mj-ea"/>
                <a:cs typeface="+mj-cs"/>
              </a:defRPr>
            </a:lvl1pPr>
          </a:lstStyle>
          <a:p>
            <a:r>
              <a:rPr lang="de-DE" sz="4800" spc="300" dirty="0"/>
              <a:t>Steini – </a:t>
            </a:r>
            <a:r>
              <a:rPr lang="de-DE" sz="4800" spc="300" dirty="0" err="1"/>
              <a:t>lu</a:t>
            </a:r>
            <a:r>
              <a:rPr lang="de-DE" sz="4800" spc="300" dirty="0"/>
              <a:t> - </a:t>
            </a:r>
            <a:r>
              <a:rPr lang="de-DE" sz="4800" spc="300" dirty="0" err="1"/>
              <a:t>daffi</a:t>
            </a:r>
            <a:endParaRPr lang="en-US" sz="5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CE46382-B99E-4D6D-AD1B-43DEDC2AC5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27" y="2631652"/>
            <a:ext cx="4579766" cy="3053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75214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99682-78C4-0F4C-921F-BD40CDA02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535" y="163085"/>
            <a:ext cx="8390165" cy="1032471"/>
          </a:xfrm>
        </p:spPr>
        <p:txBody>
          <a:bodyPr>
            <a:no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8000" spc="300" dirty="0">
                <a:solidFill>
                  <a:schemeClr val="bg1"/>
                </a:solidFill>
              </a:rPr>
              <a:t>Deutsches Kontingentsteam</a:t>
            </a:r>
            <a:endParaRPr lang="en-US" sz="8000" spc="3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B7ECBC-DC41-4486-8CAE-9164F604BD9B}"/>
              </a:ext>
            </a:extLst>
          </p:cNvPr>
          <p:cNvSpPr/>
          <p:nvPr/>
        </p:nvSpPr>
        <p:spPr>
          <a:xfrm>
            <a:off x="3349021" y="2015272"/>
            <a:ext cx="2715076" cy="2976917"/>
          </a:xfrm>
          <a:prstGeom prst="rect">
            <a:avLst/>
          </a:prstGeom>
          <a:solidFill>
            <a:srgbClr val="6600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77979F42-5398-4BC3-83E0-E800A6D67BF8}"/>
              </a:ext>
            </a:extLst>
          </p:cNvPr>
          <p:cNvSpPr txBox="1"/>
          <p:nvPr/>
        </p:nvSpPr>
        <p:spPr>
          <a:xfrm>
            <a:off x="3828497" y="1585013"/>
            <a:ext cx="19694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BETREUUNG</a:t>
            </a: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36AACDA6-1E7E-4FA3-8343-4CBE1EE9927C}"/>
              </a:ext>
            </a:extLst>
          </p:cNvPr>
          <p:cNvSpPr txBox="1"/>
          <p:nvPr/>
        </p:nvSpPr>
        <p:spPr>
          <a:xfrm>
            <a:off x="3753169" y="2345082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Unit-Betreuung</a:t>
            </a: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F4BA8067-3EAF-4189-A848-425C9B242EA2}"/>
              </a:ext>
            </a:extLst>
          </p:cNvPr>
          <p:cNvSpPr txBox="1"/>
          <p:nvPr/>
        </p:nvSpPr>
        <p:spPr>
          <a:xfrm>
            <a:off x="3668955" y="3100173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IST-Betreuung</a:t>
            </a: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B6F2F726-5F8F-4835-A918-C85A7FBF8675}"/>
              </a:ext>
            </a:extLst>
          </p:cNvPr>
          <p:cNvSpPr txBox="1"/>
          <p:nvPr/>
        </p:nvSpPr>
        <p:spPr>
          <a:xfrm>
            <a:off x="4186056" y="3883249"/>
            <a:ext cx="1020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Touren</a:t>
            </a: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B1A412EA-4B99-40BC-9AAC-25393E314258}"/>
              </a:ext>
            </a:extLst>
          </p:cNvPr>
          <p:cNvSpPr txBox="1"/>
          <p:nvPr/>
        </p:nvSpPr>
        <p:spPr>
          <a:xfrm>
            <a:off x="4224674" y="4461994"/>
            <a:ext cx="828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  <a:latin typeface="Quicksand" pitchFamily="2" charset="77"/>
              </a:rPr>
              <a:t>HoHo</a:t>
            </a:r>
            <a:endParaRPr lang="de-DE" dirty="0">
              <a:solidFill>
                <a:schemeClr val="bg1"/>
              </a:solidFill>
              <a:latin typeface="Quicksand" pitchFamily="2" charset="77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892AADDE-EB45-4048-91AE-233B5C44DCDA}"/>
              </a:ext>
            </a:extLst>
          </p:cNvPr>
          <p:cNvSpPr txBox="1"/>
          <p:nvPr/>
        </p:nvSpPr>
        <p:spPr>
          <a:xfrm>
            <a:off x="328652" y="2949871"/>
            <a:ext cx="2937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PROGRAMM</a:t>
            </a: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id="{AF73A88C-4B03-4536-BAAF-92DCC2945A9C}"/>
              </a:ext>
            </a:extLst>
          </p:cNvPr>
          <p:cNvSpPr txBox="1"/>
          <p:nvPr/>
        </p:nvSpPr>
        <p:spPr>
          <a:xfrm>
            <a:off x="761649" y="4841941"/>
            <a:ext cx="31468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Kontingentslager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3FCBC3BD-E90E-437C-A113-5836C36CD1E3}"/>
              </a:ext>
            </a:extLst>
          </p:cNvPr>
          <p:cNvSpPr txBox="1"/>
          <p:nvPr/>
        </p:nvSpPr>
        <p:spPr>
          <a:xfrm>
            <a:off x="553585" y="4248449"/>
            <a:ext cx="2877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Programmbeiträg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581D58C7-2016-4FED-A777-6C3589DC26D9}"/>
              </a:ext>
            </a:extLst>
          </p:cNvPr>
          <p:cNvSpPr/>
          <p:nvPr/>
        </p:nvSpPr>
        <p:spPr>
          <a:xfrm>
            <a:off x="385047" y="2024908"/>
            <a:ext cx="2804413" cy="8819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TextBox 5">
            <a:extLst>
              <a:ext uri="{FF2B5EF4-FFF2-40B4-BE49-F238E27FC236}">
                <a16:creationId xmlns:a16="http://schemas.microsoft.com/office/drawing/2014/main" id="{A1A225CE-E546-4BB6-8511-14E0F78661A5}"/>
              </a:ext>
            </a:extLst>
          </p:cNvPr>
          <p:cNvSpPr txBox="1"/>
          <p:nvPr/>
        </p:nvSpPr>
        <p:spPr>
          <a:xfrm>
            <a:off x="298437" y="1585448"/>
            <a:ext cx="2937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FINANZEN</a:t>
            </a:r>
          </a:p>
        </p:txBody>
      </p:sp>
      <p:sp>
        <p:nvSpPr>
          <p:cNvPr id="27" name="TextBox 5">
            <a:extLst>
              <a:ext uri="{FF2B5EF4-FFF2-40B4-BE49-F238E27FC236}">
                <a16:creationId xmlns:a16="http://schemas.microsoft.com/office/drawing/2014/main" id="{15B7DD42-9703-4BFF-BA1A-51CB52C00212}"/>
              </a:ext>
            </a:extLst>
          </p:cNvPr>
          <p:cNvSpPr txBox="1"/>
          <p:nvPr/>
        </p:nvSpPr>
        <p:spPr>
          <a:xfrm>
            <a:off x="246004" y="2072569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Budget &amp; Controlli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0BE0466-F922-45F0-AB12-8430BC02DEA3}"/>
              </a:ext>
            </a:extLst>
          </p:cNvPr>
          <p:cNvSpPr/>
          <p:nvPr/>
        </p:nvSpPr>
        <p:spPr>
          <a:xfrm>
            <a:off x="406817" y="3401158"/>
            <a:ext cx="2804413" cy="2793277"/>
          </a:xfrm>
          <a:prstGeom prst="rect">
            <a:avLst/>
          </a:prstGeom>
          <a:solidFill>
            <a:srgbClr val="D600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A671F2F9-8593-4117-923D-D02F9FAF0094}"/>
              </a:ext>
            </a:extLst>
          </p:cNvPr>
          <p:cNvSpPr txBox="1"/>
          <p:nvPr/>
        </p:nvSpPr>
        <p:spPr>
          <a:xfrm>
            <a:off x="364737" y="4178877"/>
            <a:ext cx="2877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Kontingentsbotschaft</a:t>
            </a:r>
          </a:p>
        </p:txBody>
      </p:sp>
      <p:sp>
        <p:nvSpPr>
          <p:cNvPr id="31" name="TextBox 5">
            <a:extLst>
              <a:ext uri="{FF2B5EF4-FFF2-40B4-BE49-F238E27FC236}">
                <a16:creationId xmlns:a16="http://schemas.microsoft.com/office/drawing/2014/main" id="{57425193-C010-4F0F-8BDD-10333B4F4CF3}"/>
              </a:ext>
            </a:extLst>
          </p:cNvPr>
          <p:cNvSpPr txBox="1"/>
          <p:nvPr/>
        </p:nvSpPr>
        <p:spPr>
          <a:xfrm>
            <a:off x="289839" y="3550773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Programmkoordination</a:t>
            </a:r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72CF5FF6-3162-40D7-A55E-6A703A472E45}"/>
              </a:ext>
            </a:extLst>
          </p:cNvPr>
          <p:cNvSpPr txBox="1"/>
          <p:nvPr/>
        </p:nvSpPr>
        <p:spPr>
          <a:xfrm>
            <a:off x="230084" y="5225586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Kontingentslager</a:t>
            </a:r>
          </a:p>
        </p:txBody>
      </p:sp>
      <p:sp>
        <p:nvSpPr>
          <p:cNvPr id="33" name="TextBox 5">
            <a:extLst>
              <a:ext uri="{FF2B5EF4-FFF2-40B4-BE49-F238E27FC236}">
                <a16:creationId xmlns:a16="http://schemas.microsoft.com/office/drawing/2014/main" id="{ADE407A6-49F3-4F10-9F9D-D9352B5FCCA6}"/>
              </a:ext>
            </a:extLst>
          </p:cNvPr>
          <p:cNvSpPr txBox="1"/>
          <p:nvPr/>
        </p:nvSpPr>
        <p:spPr>
          <a:xfrm>
            <a:off x="230084" y="5688669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Akklimatisierungstage</a:t>
            </a:r>
          </a:p>
        </p:txBody>
      </p:sp>
      <p:sp>
        <p:nvSpPr>
          <p:cNvPr id="34" name="TextBox 5">
            <a:extLst>
              <a:ext uri="{FF2B5EF4-FFF2-40B4-BE49-F238E27FC236}">
                <a16:creationId xmlns:a16="http://schemas.microsoft.com/office/drawing/2014/main" id="{92B01CD4-680D-473B-9B1B-D68D46248678}"/>
              </a:ext>
            </a:extLst>
          </p:cNvPr>
          <p:cNvSpPr txBox="1"/>
          <p:nvPr/>
        </p:nvSpPr>
        <p:spPr>
          <a:xfrm>
            <a:off x="355089" y="4617781"/>
            <a:ext cx="2877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Programmbeiträge</a:t>
            </a:r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03BE8BDA-CBF5-4ADE-9712-BE9CC9E24994}"/>
              </a:ext>
            </a:extLst>
          </p:cNvPr>
          <p:cNvSpPr txBox="1"/>
          <p:nvPr/>
        </p:nvSpPr>
        <p:spPr>
          <a:xfrm>
            <a:off x="193857" y="2473416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Fundraising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611DB72-CF41-467D-BA23-C6314A785A15}"/>
              </a:ext>
            </a:extLst>
          </p:cNvPr>
          <p:cNvSpPr/>
          <p:nvPr/>
        </p:nvSpPr>
        <p:spPr>
          <a:xfrm>
            <a:off x="6240598" y="2024908"/>
            <a:ext cx="2512674" cy="294610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7" name="TextBox 5">
            <a:extLst>
              <a:ext uri="{FF2B5EF4-FFF2-40B4-BE49-F238E27FC236}">
                <a16:creationId xmlns:a16="http://schemas.microsoft.com/office/drawing/2014/main" id="{F18C9A81-2EC0-4DA3-837C-708D1F9ECCE6}"/>
              </a:ext>
            </a:extLst>
          </p:cNvPr>
          <p:cNvSpPr txBox="1"/>
          <p:nvPr/>
        </p:nvSpPr>
        <p:spPr>
          <a:xfrm>
            <a:off x="6411054" y="1612825"/>
            <a:ext cx="19694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MEDIEN</a:t>
            </a: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E5094EDB-3D4E-4FD3-8640-27D037C2AA0C}"/>
              </a:ext>
            </a:extLst>
          </p:cNvPr>
          <p:cNvSpPr txBox="1"/>
          <p:nvPr/>
        </p:nvSpPr>
        <p:spPr>
          <a:xfrm>
            <a:off x="6516881" y="2260542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Pressekontakt</a:t>
            </a:r>
          </a:p>
        </p:txBody>
      </p:sp>
      <p:sp>
        <p:nvSpPr>
          <p:cNvPr id="41" name="TextBox 5">
            <a:extLst>
              <a:ext uri="{FF2B5EF4-FFF2-40B4-BE49-F238E27FC236}">
                <a16:creationId xmlns:a16="http://schemas.microsoft.com/office/drawing/2014/main" id="{5BC21BA5-F431-4971-BF87-18E022D0467E}"/>
              </a:ext>
            </a:extLst>
          </p:cNvPr>
          <p:cNvSpPr txBox="1"/>
          <p:nvPr/>
        </p:nvSpPr>
        <p:spPr>
          <a:xfrm>
            <a:off x="6571424" y="3417539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Social Media</a:t>
            </a:r>
          </a:p>
        </p:txBody>
      </p:sp>
      <p:sp>
        <p:nvSpPr>
          <p:cNvPr id="42" name="TextBox 5">
            <a:extLst>
              <a:ext uri="{FF2B5EF4-FFF2-40B4-BE49-F238E27FC236}">
                <a16:creationId xmlns:a16="http://schemas.microsoft.com/office/drawing/2014/main" id="{34D1D78B-9E24-437E-AEFF-324EB0BC657D}"/>
              </a:ext>
            </a:extLst>
          </p:cNvPr>
          <p:cNvSpPr txBox="1"/>
          <p:nvPr/>
        </p:nvSpPr>
        <p:spPr>
          <a:xfrm>
            <a:off x="6531740" y="3940078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Film &amp; Foto</a:t>
            </a:r>
          </a:p>
        </p:txBody>
      </p:sp>
      <p:sp>
        <p:nvSpPr>
          <p:cNvPr id="43" name="TextBox 5">
            <a:extLst>
              <a:ext uri="{FF2B5EF4-FFF2-40B4-BE49-F238E27FC236}">
                <a16:creationId xmlns:a16="http://schemas.microsoft.com/office/drawing/2014/main" id="{059CE10C-7AF8-4C6C-A7F2-A591D01C6DA3}"/>
              </a:ext>
            </a:extLst>
          </p:cNvPr>
          <p:cNvSpPr txBox="1"/>
          <p:nvPr/>
        </p:nvSpPr>
        <p:spPr>
          <a:xfrm>
            <a:off x="6475040" y="4363333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Merchandise</a:t>
            </a:r>
          </a:p>
        </p:txBody>
      </p:sp>
      <p:sp>
        <p:nvSpPr>
          <p:cNvPr id="44" name="TextBox 5">
            <a:extLst>
              <a:ext uri="{FF2B5EF4-FFF2-40B4-BE49-F238E27FC236}">
                <a16:creationId xmlns:a16="http://schemas.microsoft.com/office/drawing/2014/main" id="{F82C7017-077E-43F6-9E73-A24D471F456F}"/>
              </a:ext>
            </a:extLst>
          </p:cNvPr>
          <p:cNvSpPr txBox="1"/>
          <p:nvPr/>
        </p:nvSpPr>
        <p:spPr>
          <a:xfrm>
            <a:off x="6512369" y="2839339"/>
            <a:ext cx="192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Redaktio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6A1B7C5-4022-4B75-B34D-0A24A68B2E37}"/>
              </a:ext>
            </a:extLst>
          </p:cNvPr>
          <p:cNvSpPr/>
          <p:nvPr/>
        </p:nvSpPr>
        <p:spPr>
          <a:xfrm>
            <a:off x="3376897" y="5168654"/>
            <a:ext cx="8287145" cy="99977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6" name="TextBox 5">
            <a:extLst>
              <a:ext uri="{FF2B5EF4-FFF2-40B4-BE49-F238E27FC236}">
                <a16:creationId xmlns:a16="http://schemas.microsoft.com/office/drawing/2014/main" id="{3DFCB273-EC71-40A4-B5D0-3DA9C777A920}"/>
              </a:ext>
            </a:extLst>
          </p:cNvPr>
          <p:cNvSpPr txBox="1"/>
          <p:nvPr/>
        </p:nvSpPr>
        <p:spPr>
          <a:xfrm>
            <a:off x="8887632" y="4675505"/>
            <a:ext cx="2937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ORGANISATION</a:t>
            </a:r>
          </a:p>
        </p:txBody>
      </p:sp>
      <p:sp>
        <p:nvSpPr>
          <p:cNvPr id="47" name="TextBox 5">
            <a:extLst>
              <a:ext uri="{FF2B5EF4-FFF2-40B4-BE49-F238E27FC236}">
                <a16:creationId xmlns:a16="http://schemas.microsoft.com/office/drawing/2014/main" id="{A217750E-65EA-4003-9370-F58BEFA587CD}"/>
              </a:ext>
            </a:extLst>
          </p:cNvPr>
          <p:cNvSpPr txBox="1"/>
          <p:nvPr/>
        </p:nvSpPr>
        <p:spPr>
          <a:xfrm>
            <a:off x="3037309" y="5291004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IT-Infrastruktur</a:t>
            </a:r>
          </a:p>
        </p:txBody>
      </p:sp>
      <p:sp>
        <p:nvSpPr>
          <p:cNvPr id="51" name="TextBox 5">
            <a:extLst>
              <a:ext uri="{FF2B5EF4-FFF2-40B4-BE49-F238E27FC236}">
                <a16:creationId xmlns:a16="http://schemas.microsoft.com/office/drawing/2014/main" id="{0C33B77A-79C9-4DAE-BA39-735864095338}"/>
              </a:ext>
            </a:extLst>
          </p:cNvPr>
          <p:cNvSpPr txBox="1"/>
          <p:nvPr/>
        </p:nvSpPr>
        <p:spPr>
          <a:xfrm>
            <a:off x="3060125" y="5659781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Anmeldewesen</a:t>
            </a:r>
          </a:p>
        </p:txBody>
      </p:sp>
      <p:sp>
        <p:nvSpPr>
          <p:cNvPr id="52" name="TextBox 5">
            <a:extLst>
              <a:ext uri="{FF2B5EF4-FFF2-40B4-BE49-F238E27FC236}">
                <a16:creationId xmlns:a16="http://schemas.microsoft.com/office/drawing/2014/main" id="{3FD2ED07-50E2-4938-8813-0EDC39240E7D}"/>
              </a:ext>
            </a:extLst>
          </p:cNvPr>
          <p:cNvSpPr txBox="1"/>
          <p:nvPr/>
        </p:nvSpPr>
        <p:spPr>
          <a:xfrm>
            <a:off x="5587043" y="5299106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Onboarding</a:t>
            </a:r>
          </a:p>
        </p:txBody>
      </p:sp>
      <p:sp>
        <p:nvSpPr>
          <p:cNvPr id="54" name="TextBox 5">
            <a:extLst>
              <a:ext uri="{FF2B5EF4-FFF2-40B4-BE49-F238E27FC236}">
                <a16:creationId xmlns:a16="http://schemas.microsoft.com/office/drawing/2014/main" id="{B6EF8750-CC15-415C-BA1E-96356A6CA326}"/>
              </a:ext>
            </a:extLst>
          </p:cNvPr>
          <p:cNvSpPr txBox="1"/>
          <p:nvPr/>
        </p:nvSpPr>
        <p:spPr>
          <a:xfrm>
            <a:off x="8572543" y="5307924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Kontingentsarzt</a:t>
            </a:r>
          </a:p>
        </p:txBody>
      </p:sp>
      <p:sp>
        <p:nvSpPr>
          <p:cNvPr id="55" name="TextBox 5">
            <a:extLst>
              <a:ext uri="{FF2B5EF4-FFF2-40B4-BE49-F238E27FC236}">
                <a16:creationId xmlns:a16="http://schemas.microsoft.com/office/drawing/2014/main" id="{4AB7C172-685D-4F73-ABFD-8B112ED5E085}"/>
              </a:ext>
            </a:extLst>
          </p:cNvPr>
          <p:cNvSpPr txBox="1"/>
          <p:nvPr/>
        </p:nvSpPr>
        <p:spPr>
          <a:xfrm>
            <a:off x="8595359" y="5676701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Kontingentspsychologin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83AD9675-56FA-4F8A-BB51-3E247580D14B}"/>
              </a:ext>
            </a:extLst>
          </p:cNvPr>
          <p:cNvSpPr/>
          <p:nvPr/>
        </p:nvSpPr>
        <p:spPr>
          <a:xfrm>
            <a:off x="8904483" y="2525121"/>
            <a:ext cx="2804413" cy="209266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9" name="TextBox 5">
            <a:extLst>
              <a:ext uri="{FF2B5EF4-FFF2-40B4-BE49-F238E27FC236}">
                <a16:creationId xmlns:a16="http://schemas.microsoft.com/office/drawing/2014/main" id="{222E86C3-232B-4F72-98F3-BD507582CE96}"/>
              </a:ext>
            </a:extLst>
          </p:cNvPr>
          <p:cNvSpPr txBox="1"/>
          <p:nvPr/>
        </p:nvSpPr>
        <p:spPr>
          <a:xfrm>
            <a:off x="8722318" y="2134860"/>
            <a:ext cx="2937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Quicksand" pitchFamily="2" charset="77"/>
              </a:rPr>
              <a:t>LOGISTIK</a:t>
            </a:r>
          </a:p>
        </p:txBody>
      </p:sp>
      <p:sp>
        <p:nvSpPr>
          <p:cNvPr id="60" name="TextBox 5">
            <a:extLst>
              <a:ext uri="{FF2B5EF4-FFF2-40B4-BE49-F238E27FC236}">
                <a16:creationId xmlns:a16="http://schemas.microsoft.com/office/drawing/2014/main" id="{99B7E0B7-66BF-46D8-8F7A-508F9405B7C2}"/>
              </a:ext>
            </a:extLst>
          </p:cNvPr>
          <p:cNvSpPr txBox="1"/>
          <p:nvPr/>
        </p:nvSpPr>
        <p:spPr>
          <a:xfrm>
            <a:off x="8595359" y="2710263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Reiselogistik</a:t>
            </a:r>
          </a:p>
        </p:txBody>
      </p:sp>
      <p:sp>
        <p:nvSpPr>
          <p:cNvPr id="61" name="TextBox 5">
            <a:extLst>
              <a:ext uri="{FF2B5EF4-FFF2-40B4-BE49-F238E27FC236}">
                <a16:creationId xmlns:a16="http://schemas.microsoft.com/office/drawing/2014/main" id="{A49DD593-A504-431E-AFC3-2BD1A68B401C}"/>
              </a:ext>
            </a:extLst>
          </p:cNvPr>
          <p:cNvSpPr txBox="1"/>
          <p:nvPr/>
        </p:nvSpPr>
        <p:spPr>
          <a:xfrm>
            <a:off x="8638369" y="3386785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Material</a:t>
            </a:r>
          </a:p>
        </p:txBody>
      </p:sp>
      <p:sp>
        <p:nvSpPr>
          <p:cNvPr id="62" name="TextBox 5">
            <a:extLst>
              <a:ext uri="{FF2B5EF4-FFF2-40B4-BE49-F238E27FC236}">
                <a16:creationId xmlns:a16="http://schemas.microsoft.com/office/drawing/2014/main" id="{A76C8321-3B74-4108-AAAC-F008265C396A}"/>
              </a:ext>
            </a:extLst>
          </p:cNvPr>
          <p:cNvSpPr txBox="1"/>
          <p:nvPr/>
        </p:nvSpPr>
        <p:spPr>
          <a:xfrm>
            <a:off x="8617738" y="4067915"/>
            <a:ext cx="3146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Quicksand" pitchFamily="2" charset="77"/>
              </a:rPr>
              <a:t>Materiallogistik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EF1462F-6F1A-439B-9371-FD4F79DA9E14}"/>
              </a:ext>
            </a:extLst>
          </p:cNvPr>
          <p:cNvSpPr/>
          <p:nvPr/>
        </p:nvSpPr>
        <p:spPr>
          <a:xfrm>
            <a:off x="406817" y="3401158"/>
            <a:ext cx="2804413" cy="2793277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EA6592E-1004-4248-AB19-0825E96FF321}"/>
              </a:ext>
            </a:extLst>
          </p:cNvPr>
          <p:cNvSpPr/>
          <p:nvPr/>
        </p:nvSpPr>
        <p:spPr>
          <a:xfrm>
            <a:off x="385047" y="2024908"/>
            <a:ext cx="2804413" cy="881926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83183B7-F39D-441D-B9ED-BA7658399C56}"/>
              </a:ext>
            </a:extLst>
          </p:cNvPr>
          <p:cNvSpPr/>
          <p:nvPr/>
        </p:nvSpPr>
        <p:spPr>
          <a:xfrm>
            <a:off x="3376897" y="5168654"/>
            <a:ext cx="8287145" cy="999770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23EE194-B71A-4929-A52A-CA2AB839ABE6}"/>
              </a:ext>
            </a:extLst>
          </p:cNvPr>
          <p:cNvSpPr/>
          <p:nvPr/>
        </p:nvSpPr>
        <p:spPr>
          <a:xfrm>
            <a:off x="3349021" y="2882777"/>
            <a:ext cx="2715076" cy="2109412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FA31AFE-FB45-4C3C-95F6-DF66309B20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9" t="17759" r="159" b="5878"/>
          <a:stretch/>
        </p:blipFill>
        <p:spPr>
          <a:xfrm>
            <a:off x="5991932" y="305844"/>
            <a:ext cx="6134780" cy="62463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2587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3" grpId="0" animBg="1"/>
      <p:bldP spid="56" grpId="0" animBg="1"/>
      <p:bldP spid="5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SJ">
  <a:themeElements>
    <a:clrScheme name="WSJ">
      <a:dk1>
        <a:srgbClr val="000000"/>
      </a:dk1>
      <a:lt1>
        <a:srgbClr val="FFFFFF"/>
      </a:lt1>
      <a:dk2>
        <a:srgbClr val="007478"/>
      </a:dk2>
      <a:lt2>
        <a:srgbClr val="75A4D6"/>
      </a:lt2>
      <a:accent1>
        <a:srgbClr val="75A4D6"/>
      </a:accent1>
      <a:accent2>
        <a:srgbClr val="0046A0"/>
      </a:accent2>
      <a:accent3>
        <a:srgbClr val="75BDA7"/>
      </a:accent3>
      <a:accent4>
        <a:srgbClr val="CC2E3A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oreaPromo_v2" id="{CB81CCFA-8095-364C-BB5E-96A8C5346F44}" vid="{33EAD113-D568-724B-82F4-3BCB9F04E5B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4</Words>
  <Application>Microsoft Office PowerPoint</Application>
  <PresentationFormat>Breitbild</PresentationFormat>
  <Paragraphs>270</Paragraphs>
  <Slides>2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8" baseType="lpstr">
      <vt:lpstr>Quicksand</vt:lpstr>
      <vt:lpstr>Cabana</vt:lpstr>
      <vt:lpstr>Calibri Light</vt:lpstr>
      <vt:lpstr>Wingdings</vt:lpstr>
      <vt:lpstr>Brush Script MT</vt:lpstr>
      <vt:lpstr>Arial</vt:lpstr>
      <vt:lpstr>Calibri</vt:lpstr>
      <vt:lpstr>WSJ</vt:lpstr>
      <vt:lpstr>think-cell Folie</vt:lpstr>
      <vt:lpstr>25. World Scout Jamboree Korea 2023</vt:lpstr>
      <vt:lpstr>Auf Nach Saemangeum / Korea </vt:lpstr>
      <vt:lpstr>Abenteuer jamboree</vt:lpstr>
      <vt:lpstr>Fakten</vt:lpstr>
      <vt:lpstr>Elemente des Abenteuers Jamboree</vt:lpstr>
      <vt:lpstr>Vision für das deutsche Kontingent</vt:lpstr>
      <vt:lpstr>Kontingentsteam</vt:lpstr>
      <vt:lpstr>Deutsche Kontingentsleitung</vt:lpstr>
      <vt:lpstr>Deutsches Kontingentsteam</vt:lpstr>
      <vt:lpstr>Die Unit</vt:lpstr>
      <vt:lpstr>Teilnehmer*innen (TN)</vt:lpstr>
      <vt:lpstr>Unitleitungen (UL)</vt:lpstr>
      <vt:lpstr>Bildung der Units</vt:lpstr>
      <vt:lpstr>Vorbereitungstreffen</vt:lpstr>
      <vt:lpstr>KONTINGENTSLAGER</vt:lpstr>
      <vt:lpstr>Auf nach Korea</vt:lpstr>
      <vt:lpstr>TouREN &amp; HoHO</vt:lpstr>
      <vt:lpstr>AKKLIMATISIERUNGSTAGE</vt:lpstr>
      <vt:lpstr>Jamboreeplatz in Saemangeum</vt:lpstr>
      <vt:lpstr>JAMBOREE-PROGRAMM</vt:lpstr>
      <vt:lpstr>Wie geht’s weiter</vt:lpstr>
      <vt:lpstr>Anmeldung</vt:lpstr>
      <vt:lpstr>Schulbefreiung?</vt:lpstr>
      <vt:lpstr>Finanzielles</vt:lpstr>
      <vt:lpstr>PowerPoint-Präsentation</vt:lpstr>
      <vt:lpstr>PowerPoint-Präsentation</vt:lpstr>
      <vt:lpstr>Zeitplan fürs Jambore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5th World Scout Jamboree Korea</dc:title>
  <dc:creator>Gernot Knittel</dc:creator>
  <cp:lastModifiedBy>Lara Zinngraf</cp:lastModifiedBy>
  <cp:revision>91</cp:revision>
  <dcterms:created xsi:type="dcterms:W3CDTF">2020-11-09T21:00:41Z</dcterms:created>
  <dcterms:modified xsi:type="dcterms:W3CDTF">2022-03-01T09:46:41Z</dcterms:modified>
</cp:coreProperties>
</file>